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73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E7B94F-F83D-4EE0-9190-01746DAED56A}" v="4" dt="2022-05-04T12:16:08.34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63" d="100"/>
          <a:sy n="63" d="100"/>
        </p:scale>
        <p:origin x="656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071398" algn="l"/>
              </a:tabLst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9603350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60" y="3382038"/>
            <a:ext cx="3365500" cy="833626"/>
          </a:xfrm>
        </p:spPr>
        <p:txBody>
          <a:bodyPr/>
          <a:lstStyle>
            <a:lvl1pPr>
              <a:spcAft>
                <a:spcPts val="0"/>
              </a:spcAft>
              <a:defRPr lang="en-US" sz="34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95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1349613"/>
            <a:ext cx="3464990" cy="1917128"/>
          </a:xfrm>
        </p:spPr>
        <p:txBody>
          <a:bodyPr anchor="b" anchorCtr="0"/>
          <a:lstStyle>
            <a:lvl1pPr>
              <a:defRPr sz="1245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4" cy="22927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5650" tIns="45650" rIns="45650" bIns="45650" rtlCol="0" anchor="t" anchorCtr="0">
            <a:spAutoFit/>
          </a:bodyPr>
          <a:lstStyle/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3328" y="6024762"/>
            <a:ext cx="2688938" cy="468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10993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60" y="3382038"/>
            <a:ext cx="3365500" cy="833626"/>
          </a:xfrm>
        </p:spPr>
        <p:txBody>
          <a:bodyPr/>
          <a:lstStyle>
            <a:lvl1pPr>
              <a:spcAft>
                <a:spcPts val="0"/>
              </a:spcAft>
              <a:defRPr lang="en-US" sz="34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95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1349613"/>
            <a:ext cx="3464990" cy="1917128"/>
          </a:xfrm>
        </p:spPr>
        <p:txBody>
          <a:bodyPr anchor="b" anchorCtr="0"/>
          <a:lstStyle>
            <a:lvl1pPr>
              <a:defRPr sz="1245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4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3129" y="6128284"/>
            <a:ext cx="1808992" cy="488191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4" y="1"/>
            <a:ext cx="2707514" cy="22927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5650" tIns="45650" rIns="45650" bIns="45650" rtlCol="0" anchor="t" anchorCtr="0">
            <a:spAutoFit/>
          </a:bodyPr>
          <a:lstStyle/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2871877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60" y="3382038"/>
            <a:ext cx="3365500" cy="833626"/>
          </a:xfrm>
        </p:spPr>
        <p:txBody>
          <a:bodyPr/>
          <a:lstStyle>
            <a:lvl1pPr>
              <a:spcAft>
                <a:spcPts val="0"/>
              </a:spcAft>
              <a:defRPr lang="en-US" sz="34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95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1349613"/>
            <a:ext cx="3464990" cy="1917128"/>
          </a:xfrm>
        </p:spPr>
        <p:txBody>
          <a:bodyPr anchor="b" anchorCtr="0"/>
          <a:lstStyle>
            <a:lvl1pPr>
              <a:defRPr sz="1245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4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2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4" cy="22927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5650" tIns="45650" rIns="45650" bIns="45650" rtlCol="0" anchor="t" anchorCtr="0">
            <a:spAutoFit/>
          </a:bodyPr>
          <a:lstStyle/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938013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50" smtClean="0"/>
              <a:pPr/>
              <a:t>‹#›</a:t>
            </a:fld>
            <a:endParaRPr lang="en-GB" sz="65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1" y="2735713"/>
            <a:ext cx="6578601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151038133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1" y="1856150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2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22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3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01"/>
            <a:ext cx="5378452" cy="56675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31634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3" y="3931570"/>
            <a:ext cx="5133975" cy="788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87"/>
              </a:spcAft>
            </a:pPr>
            <a:r>
              <a:rPr lang="en-US" sz="569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21 by BCG Platinion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0002" y="622803"/>
            <a:ext cx="10933350" cy="3323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5126958"/>
            <a:ext cx="2743200" cy="7880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87"/>
              </a:spcAft>
            </a:pPr>
            <a:r>
              <a:rPr lang="en-US" sz="569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Template.pptx</a:t>
            </a:r>
          </a:p>
        </p:txBody>
      </p:sp>
    </p:spTree>
    <p:extLst>
      <p:ext uri="{BB962C8B-B14F-4D97-AF65-F5344CB8AC3E}">
        <p14:creationId xmlns:p14="http://schemas.microsoft.com/office/powerpoint/2010/main" val="2066350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3" y="3931570"/>
            <a:ext cx="5133975" cy="788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87"/>
              </a:spcAft>
            </a:pPr>
            <a:r>
              <a:rPr lang="en-US" sz="569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21 by BCG Platinion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0002" y="622803"/>
            <a:ext cx="10933350" cy="3323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5126958"/>
            <a:ext cx="2743200" cy="7880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87"/>
              </a:spcAft>
            </a:pPr>
            <a:r>
              <a:rPr lang="en-US" sz="569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Template.pptx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51C4D0-6EBF-4EF4-A721-0E23DC618BA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56822" y="1266508"/>
            <a:ext cx="7224594" cy="496869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53690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E2D2A-3819-40E3-AC1D-7FD9EED65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90577D-D396-43D0-BBA9-872B4FE6E1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071398" algn="l"/>
              </a:tabLst>
            </a:pPr>
            <a:r>
              <a:rPr lang="fr-FR"/>
              <a:t>| [Insert document title] | [Insert date]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088EA6-21E6-4C98-9DF8-7AFB148FC3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01023" y="116544"/>
            <a:ext cx="2215385" cy="157243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2A11837-9E86-41B8-80EF-8837F8BCBA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512460" y="3408692"/>
            <a:ext cx="1953792" cy="18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2869671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D47BFF-EB9B-48D5-85DC-0693B2A46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2" y="838201"/>
            <a:ext cx="11010900" cy="233462"/>
          </a:xfrm>
        </p:spPr>
        <p:txBody>
          <a:bodyPr/>
          <a:lstStyle>
            <a:lvl1pPr>
              <a:defRPr sz="1517" b="0"/>
            </a:lvl1pPr>
            <a:lvl5pPr marL="584982" indent="0">
              <a:buNone/>
              <a:defRPr/>
            </a:lvl5pPr>
          </a:lstStyle>
          <a:p>
            <a:pPr lvl="0"/>
            <a:r>
              <a:rPr lang="en-US"/>
              <a:t>Click to edit Sub 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5324438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F910733-AB3C-4CD4-8B13-46CE51E9C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981"/>
              </a:lnSpc>
              <a:spcBef>
                <a:spcPct val="0"/>
              </a:spcBef>
              <a:spcAft>
                <a:spcPct val="0"/>
              </a:spcAft>
            </a:pPr>
            <a:endParaRPr lang="en-GB" sz="1717" b="0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7838830-5529-438E-BEB5-77A1148056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26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/>
          </a:p>
        </p:txBody>
      </p:sp>
      <p:sp>
        <p:nvSpPr>
          <p:cNvPr id="5" name="Retângulo 43">
            <a:extLst>
              <a:ext uri="{FF2B5EF4-FFF2-40B4-BE49-F238E27FC236}">
                <a16:creationId xmlns:a16="http://schemas.microsoft.com/office/drawing/2014/main" id="{38E7A30A-4DC6-4E34-8442-1243CBAAEE53}"/>
              </a:ext>
            </a:extLst>
          </p:cNvPr>
          <p:cNvSpPr/>
          <p:nvPr userDrawn="1"/>
        </p:nvSpPr>
        <p:spPr>
          <a:xfrm>
            <a:off x="11697168" y="6637201"/>
            <a:ext cx="494833" cy="15004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GB" sz="975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GB" sz="975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085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8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7"/>
            <a:ext cx="3456319" cy="209288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09288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87084" y="6405447"/>
            <a:ext cx="7753254" cy="183448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071398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4" y="0"/>
            <a:ext cx="2706315" cy="2173278"/>
            <a:chOff x="3528102" y="847657"/>
            <a:chExt cx="2029736" cy="162995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16299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8026" marR="0" lvl="2" indent="-98026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8026" marR="0" lvl="2" indent="-98026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8026" marR="0" lvl="2" indent="-98026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82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82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82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82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905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96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4" cy="22927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5650" tIns="45650" rIns="45650" bIns="45650" rtlCol="0" anchor="t" anchorCtr="0">
            <a:spAutoFit/>
          </a:bodyPr>
          <a:lstStyle/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111033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C6B25A-6AA2-46A7-84BE-5C907CA51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7" y="6455742"/>
            <a:ext cx="294460" cy="187367"/>
          </a:xfrm>
        </p:spPr>
        <p:txBody>
          <a:bodyPr lIns="0" tIns="0" rIns="0" bIns="0"/>
          <a:lstStyle>
            <a:lvl1pPr algn="ctr">
              <a:defRPr sz="731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63295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96247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5FD93-7618-40C1-9168-7B4F0D165D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40AAA9-DC82-4242-AEDC-8AAD7FAA18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F0D1B6-5434-4D02-873B-390E1802AC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035C5-CA80-4108-A2F4-84050EC93728}" type="datetimeFigureOut">
              <a:rPr lang="en-GB" smtClean="0"/>
              <a:t>04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7E2295-0984-4D8B-BE18-9CCEE44D63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EFA106-3F01-45D3-9A44-7401ADFAF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F716-A979-45FE-958B-9816074052F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2953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389587" y="6076251"/>
            <a:ext cx="7148230" cy="108171"/>
          </a:xfrm>
        </p:spPr>
        <p:txBody>
          <a:bodyPr lIns="0" tIns="0" rIns="0" bIns="0"/>
          <a:lstStyle>
            <a:lvl1pPr>
              <a:defRPr sz="703" b="0" i="0">
                <a:solidFill>
                  <a:srgbClr val="139ED9"/>
                </a:solidFill>
                <a:latin typeface="Gill Sans MT"/>
                <a:cs typeface="Gill Sans MT"/>
              </a:defRPr>
            </a:lvl1pPr>
          </a:lstStyle>
          <a:p>
            <a:pPr marL="11906">
              <a:spcBef>
                <a:spcPts val="42"/>
              </a:spcBef>
            </a:pPr>
            <a:r>
              <a:rPr lang="en-GB" spc="-23"/>
              <a:t>UNITED </a:t>
            </a:r>
            <a:r>
              <a:rPr lang="en-GB" spc="-33"/>
              <a:t>NA</a:t>
            </a:r>
            <a:r>
              <a:rPr lang="en-GB" spc="-9"/>
              <a:t>TIONS</a:t>
            </a:r>
            <a:endParaRPr lang="en-GB" spc="-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4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3" b="1" i="0">
                <a:solidFill>
                  <a:srgbClr val="7E7E7E"/>
                </a:solidFill>
                <a:latin typeface="Gill Sans MT"/>
                <a:cs typeface="Gill Sans MT"/>
              </a:defRPr>
            </a:lvl1pPr>
          </a:lstStyle>
          <a:p>
            <a:pPr marL="35719">
              <a:spcBef>
                <a:spcPts val="42"/>
              </a:spcBef>
            </a:pPr>
            <a:fld id="{81D60167-4931-47E6-BA6A-407CBD079E47}" type="slidenum">
              <a:rPr lang="en-GB" spc="19" smtClean="0"/>
              <a:pPr marL="35719">
                <a:spcBef>
                  <a:spcPts val="42"/>
                </a:spcBef>
              </a:pPr>
              <a:t>‹#›</a:t>
            </a:fld>
            <a:endParaRPr lang="en-GB" spc="19" dirty="0"/>
          </a:p>
        </p:txBody>
      </p:sp>
    </p:spTree>
    <p:extLst>
      <p:ext uri="{BB962C8B-B14F-4D97-AF65-F5344CB8AC3E}">
        <p14:creationId xmlns:p14="http://schemas.microsoft.com/office/powerpoint/2010/main" val="2998261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07139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7"/>
            <a:ext cx="7392828" cy="20336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4" y="0"/>
            <a:ext cx="2706315" cy="2173278"/>
            <a:chOff x="3528102" y="847657"/>
            <a:chExt cx="2029736" cy="162995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16299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8026" marR="0" lvl="2" indent="-98026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8026" marR="0" lvl="2" indent="-98026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8026" marR="0" lvl="2" indent="-98026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82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82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82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82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90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8026" marR="0" lvl="2" indent="-98026" algn="l" defTabSz="990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905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96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875108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1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62820"/>
            <a:ext cx="9593887" cy="183448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07139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4" y="1"/>
            <a:ext cx="2706315" cy="107903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9000" tIns="39000" rIns="39000" bIns="39000" rtlCol="0" anchor="t" anchorCtr="0">
            <a:spAutoFit/>
          </a:bodyPr>
          <a:lstStyle/>
          <a:p>
            <a:pPr marL="0" marR="0" lvl="2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135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2"/>
            <a:ext cx="6613726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6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51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022" y="6053373"/>
            <a:ext cx="2768464" cy="48247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9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3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56675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4" cy="22927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5650" tIns="45650" rIns="45650" bIns="45650" rtlCol="0" anchor="t" anchorCtr="0">
            <a:spAutoFit/>
          </a:bodyPr>
          <a:lstStyle/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398463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1022" y="6155683"/>
            <a:ext cx="2763049" cy="327855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9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3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56675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2"/>
            <a:ext cx="6613726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6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51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4" cy="22927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5650" tIns="45650" rIns="45650" bIns="45650" rtlCol="0" anchor="t" anchorCtr="0">
            <a:spAutoFit/>
          </a:bodyPr>
          <a:lstStyle/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89390520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9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3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56675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4" y="1"/>
            <a:ext cx="2707514" cy="22927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5650" tIns="45650" rIns="45650" bIns="45650" rtlCol="0" anchor="t" anchorCtr="0">
            <a:spAutoFit/>
          </a:bodyPr>
          <a:lstStyle/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3328" y="6024762"/>
            <a:ext cx="2688938" cy="468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13510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2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9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3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56675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2"/>
            <a:ext cx="6613726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6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51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4" cy="22927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5650" tIns="45650" rIns="45650" bIns="45650" rtlCol="0" anchor="t" anchorCtr="0">
            <a:spAutoFit/>
          </a:bodyPr>
          <a:lstStyle/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61748696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2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9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3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56675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2"/>
            <a:ext cx="6613726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6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51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4" y="1"/>
            <a:ext cx="2707514" cy="229279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5650" tIns="45650" rIns="45650" bIns="45650" rtlCol="0" anchor="t" anchorCtr="0">
            <a:spAutoFit/>
          </a:bodyPr>
          <a:lstStyle/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90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8026" marR="0" lvl="2" indent="-98026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63062236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6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3900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4758" y="6673677"/>
            <a:ext cx="425615" cy="18432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algn="ctr"/>
            <a:fld id="{C765D33F-A874-457A-8BB6-233806FE7182}" type="slidenum">
              <a:rPr lang="en-GB" sz="1192" b="1" smtClean="0">
                <a:solidFill>
                  <a:schemeClr val="accent1"/>
                </a:solidFill>
              </a:rPr>
              <a:pPr algn="ctr"/>
              <a:t>‹#›</a:t>
            </a:fld>
            <a:endParaRPr lang="en-GB" sz="1192" b="1" dirty="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5559" y="6413268"/>
            <a:ext cx="7624779" cy="18344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92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071398" algn="l"/>
              </a:tabLst>
            </a:pPr>
            <a:r>
              <a:rPr lang="fr-FR"/>
              <a:t>| [Insert document title] | [Insert date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430373" y="6320568"/>
            <a:ext cx="2974978" cy="353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545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75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75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75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75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71427" algn="l" rtl="0" eaLnBrk="1" fontAlgn="base" hangingPunct="1">
        <a:spcBef>
          <a:spcPct val="0"/>
        </a:spcBef>
        <a:spcAft>
          <a:spcPct val="0"/>
        </a:spcAft>
        <a:defRPr sz="2275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742853" algn="l" rtl="0" eaLnBrk="1" fontAlgn="base" hangingPunct="1">
        <a:spcBef>
          <a:spcPct val="0"/>
        </a:spcBef>
        <a:spcAft>
          <a:spcPct val="0"/>
        </a:spcAft>
        <a:defRPr sz="2275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114280" algn="l" rtl="0" eaLnBrk="1" fontAlgn="base" hangingPunct="1">
        <a:spcBef>
          <a:spcPct val="0"/>
        </a:spcBef>
        <a:spcAft>
          <a:spcPct val="0"/>
        </a:spcAft>
        <a:defRPr sz="2275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485707" algn="l" rtl="0" eaLnBrk="1" fontAlgn="base" hangingPunct="1">
        <a:spcBef>
          <a:spcPct val="0"/>
        </a:spcBef>
        <a:spcAft>
          <a:spcPct val="0"/>
        </a:spcAft>
        <a:defRPr sz="2275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300"/>
        </a:spcAft>
        <a:buClr>
          <a:schemeClr val="tx1"/>
        </a:buClr>
        <a:buFontTx/>
        <a:buNone/>
        <a:defRPr sz="195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300"/>
        </a:spcAft>
        <a:buClr>
          <a:schemeClr val="tx1"/>
        </a:buClr>
        <a:buFontTx/>
        <a:buNone/>
        <a:defRPr sz="1733">
          <a:solidFill>
            <a:schemeClr val="tx1"/>
          </a:solidFill>
          <a:latin typeface="+mn-lt"/>
          <a:ea typeface="+mn-ea"/>
        </a:defRPr>
      </a:lvl2pPr>
      <a:lvl3pPr marL="292491" indent="-292491" algn="l" rtl="0" eaLnBrk="1" fontAlgn="base" hangingPunct="1">
        <a:spcBef>
          <a:spcPct val="0"/>
        </a:spcBef>
        <a:spcAft>
          <a:spcPts val="1300"/>
        </a:spcAft>
        <a:buClr>
          <a:schemeClr val="accent1"/>
        </a:buClr>
        <a:buFont typeface="Arial" panose="020B0604020202020204" pitchFamily="34" charset="0"/>
        <a:buChar char="•"/>
        <a:defRPr sz="1733">
          <a:solidFill>
            <a:schemeClr val="tx1"/>
          </a:solidFill>
          <a:latin typeface="+mn-lt"/>
          <a:ea typeface="+mn-ea"/>
        </a:defRPr>
      </a:lvl3pPr>
      <a:lvl4pPr marL="584982" indent="-292491" algn="l" rtl="0" eaLnBrk="1" fontAlgn="base" hangingPunct="1">
        <a:spcBef>
          <a:spcPct val="0"/>
        </a:spcBef>
        <a:spcAft>
          <a:spcPts val="1300"/>
        </a:spcAft>
        <a:buClr>
          <a:schemeClr val="accent1"/>
        </a:buClr>
        <a:buFont typeface="Arial" panose="020B0604020202020204" pitchFamily="34" charset="0"/>
        <a:buChar char="-"/>
        <a:defRPr sz="1733">
          <a:solidFill>
            <a:schemeClr val="tx1"/>
          </a:solidFill>
          <a:latin typeface="+mn-lt"/>
          <a:ea typeface="+mn-ea"/>
        </a:defRPr>
      </a:lvl4pPr>
      <a:lvl5pPr marL="877473" indent="-292491" algn="l" rtl="0" eaLnBrk="1" fontAlgn="base" hangingPunct="1">
        <a:spcBef>
          <a:spcPct val="0"/>
        </a:spcBef>
        <a:spcAft>
          <a:spcPts val="1300"/>
        </a:spcAft>
        <a:buClr>
          <a:schemeClr val="accent1"/>
        </a:buClr>
        <a:buFont typeface="Arial" panose="020B0604020202020204" pitchFamily="34" charset="0"/>
        <a:buChar char="◦"/>
        <a:defRPr sz="1733">
          <a:solidFill>
            <a:schemeClr val="tx1"/>
          </a:solidFill>
          <a:latin typeface="+mn-lt"/>
          <a:ea typeface="+mn-ea"/>
        </a:defRPr>
      </a:lvl5pPr>
      <a:lvl6pPr marL="0" indent="-292491" algn="l" rtl="0" eaLnBrk="1" fontAlgn="base" hangingPunct="1">
        <a:spcBef>
          <a:spcPct val="0"/>
        </a:spcBef>
        <a:spcAft>
          <a:spcPts val="1300"/>
        </a:spcAft>
        <a:buClr>
          <a:schemeClr val="accent1"/>
        </a:buClr>
        <a:buFont typeface="+mj-lt"/>
        <a:buAutoNum type="arabicPeriod"/>
        <a:defRPr sz="1733">
          <a:solidFill>
            <a:schemeClr val="tx1"/>
          </a:solidFill>
          <a:latin typeface="+mn-lt"/>
          <a:ea typeface="+mn-ea"/>
        </a:defRPr>
      </a:lvl6pPr>
      <a:lvl7pPr marL="584982" indent="-292491" algn="l" rtl="0" eaLnBrk="1" fontAlgn="base" hangingPunct="1">
        <a:spcBef>
          <a:spcPct val="0"/>
        </a:spcBef>
        <a:spcAft>
          <a:spcPts val="1300"/>
        </a:spcAft>
        <a:buClr>
          <a:schemeClr val="accent1"/>
        </a:buClr>
        <a:buFont typeface="+mj-lt"/>
        <a:buAutoNum type="alphaLcPeriod"/>
        <a:defRPr sz="1733">
          <a:solidFill>
            <a:schemeClr val="tx1"/>
          </a:solidFill>
          <a:latin typeface="+mn-lt"/>
          <a:ea typeface="+mn-ea"/>
        </a:defRPr>
      </a:lvl7pPr>
      <a:lvl8pPr marL="877473" indent="-292491" algn="l" rtl="0" eaLnBrk="1" fontAlgn="base" hangingPunct="1">
        <a:spcBef>
          <a:spcPct val="0"/>
        </a:spcBef>
        <a:spcAft>
          <a:spcPts val="1300"/>
        </a:spcAft>
        <a:buClr>
          <a:schemeClr val="accent1"/>
        </a:buClr>
        <a:buFont typeface="+mj-lt"/>
        <a:buAutoNum type="romanLcPeriod"/>
        <a:defRPr sz="17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300"/>
        </a:spcAft>
        <a:buClr>
          <a:schemeClr val="tx1"/>
        </a:buClr>
        <a:buFontTx/>
        <a:buNone/>
        <a:defRPr sz="26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50"/>
        </a:spcAft>
        <a:buClr>
          <a:schemeClr val="tx1"/>
        </a:buClr>
        <a:buFontTx/>
        <a:buNone/>
        <a:defRPr sz="13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50"/>
        </a:spcAft>
        <a:buClr>
          <a:schemeClr val="tx1"/>
        </a:buClr>
        <a:buFontTx/>
        <a:buNone/>
        <a:defRPr sz="1300">
          <a:solidFill>
            <a:schemeClr val="tx1"/>
          </a:solidFill>
          <a:latin typeface="+mn-lt"/>
          <a:ea typeface="+mn-ea"/>
        </a:defRPr>
      </a:lvl2pPr>
      <a:lvl3pPr marL="194994" indent="-194994" algn="l" rtl="0" eaLnBrk="1" fontAlgn="base" hangingPunct="1">
        <a:spcBef>
          <a:spcPct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Char char="•"/>
        <a:defRPr sz="1300">
          <a:solidFill>
            <a:schemeClr val="tx1"/>
          </a:solidFill>
          <a:latin typeface="+mn-lt"/>
          <a:ea typeface="+mn-ea"/>
        </a:defRPr>
      </a:lvl3pPr>
      <a:lvl4pPr marL="389988" indent="-194994" algn="l" rtl="0" eaLnBrk="1" fontAlgn="base" hangingPunct="1">
        <a:spcBef>
          <a:spcPct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Char char="-"/>
        <a:defRPr sz="1300">
          <a:solidFill>
            <a:schemeClr val="tx1"/>
          </a:solidFill>
          <a:latin typeface="+mn-lt"/>
          <a:ea typeface="+mn-ea"/>
        </a:defRPr>
      </a:lvl4pPr>
      <a:lvl5pPr marL="584982" indent="-194994" algn="l" rtl="0" eaLnBrk="1" fontAlgn="base" hangingPunct="1">
        <a:spcBef>
          <a:spcPct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Char char="◦"/>
        <a:defRPr sz="1300">
          <a:solidFill>
            <a:schemeClr val="tx1"/>
          </a:solidFill>
          <a:latin typeface="+mn-lt"/>
          <a:ea typeface="+mn-ea"/>
        </a:defRPr>
      </a:lvl5pPr>
      <a:lvl6pPr marL="194994" indent="-194994" algn="l" rtl="0" eaLnBrk="1" fontAlgn="base" hangingPunct="1">
        <a:spcBef>
          <a:spcPct val="0"/>
        </a:spcBef>
        <a:spcAft>
          <a:spcPts val="650"/>
        </a:spcAft>
        <a:buClr>
          <a:schemeClr val="accent1"/>
        </a:buClr>
        <a:buFont typeface="+mj-lt"/>
        <a:buAutoNum type="arabicPeriod"/>
        <a:defRPr sz="1300">
          <a:solidFill>
            <a:schemeClr val="tx1"/>
          </a:solidFill>
          <a:latin typeface="+mn-lt"/>
          <a:ea typeface="+mn-ea"/>
        </a:defRPr>
      </a:lvl6pPr>
      <a:lvl7pPr marL="389988" indent="-194994" algn="l" rtl="0" eaLnBrk="1" fontAlgn="base" hangingPunct="1">
        <a:spcBef>
          <a:spcPct val="0"/>
        </a:spcBef>
        <a:spcAft>
          <a:spcPts val="650"/>
        </a:spcAft>
        <a:buClr>
          <a:schemeClr val="accent1"/>
        </a:buClr>
        <a:buFont typeface="+mj-lt"/>
        <a:buAutoNum type="alphaLcPeriod"/>
        <a:defRPr sz="1300">
          <a:solidFill>
            <a:schemeClr val="tx1"/>
          </a:solidFill>
          <a:latin typeface="+mn-lt"/>
          <a:ea typeface="+mn-ea"/>
        </a:defRPr>
      </a:lvl7pPr>
      <a:lvl8pPr marL="584982" indent="-194994" algn="l" rtl="0" eaLnBrk="1" fontAlgn="base" hangingPunct="1">
        <a:spcBef>
          <a:spcPct val="0"/>
        </a:spcBef>
        <a:spcAft>
          <a:spcPts val="650"/>
        </a:spcAft>
        <a:buClr>
          <a:schemeClr val="accent1"/>
        </a:buClr>
        <a:buFont typeface="+mj-lt"/>
        <a:buAutoNum type="romanLcPeriod"/>
        <a:defRPr sz="13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50"/>
        </a:spcAft>
        <a:buClr>
          <a:schemeClr val="tx1"/>
        </a:buClr>
        <a:buFontTx/>
        <a:buNone/>
        <a:defRPr sz="13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24979A7-D92D-4C08-BDC2-3775E6B88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archite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13D525-8161-41C3-970B-651BD38184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263" y="3467401"/>
            <a:ext cx="5378452" cy="300082"/>
          </a:xfrm>
        </p:spPr>
        <p:txBody>
          <a:bodyPr/>
          <a:lstStyle/>
          <a:p>
            <a:r>
              <a:rPr lang="en-GB" dirty="0"/>
              <a:t>Data initiatives - Outcomes standardizat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638A2A5-2BFA-4F19-9A8E-7A62D1BDC6C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567238" y="6413500"/>
            <a:ext cx="7624762" cy="182563"/>
          </a:xfrm>
        </p:spPr>
        <p:txBody>
          <a:bodyPr/>
          <a:lstStyle/>
          <a:p>
            <a:pPr>
              <a:tabLst>
                <a:tab pos="1071398" algn="l"/>
              </a:tabLst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284774828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3379549" y="1617015"/>
            <a:ext cx="8748000" cy="196087"/>
          </a:xfrm>
          <a:prstGeom prst="rect">
            <a:avLst/>
          </a:prstGeom>
        </p:spPr>
        <p:txBody>
          <a:bodyPr vert="horz" wrap="square" lIns="0" tIns="11311" rIns="0" bIns="0" rtlCol="0">
            <a:spAutoFit/>
          </a:bodyPr>
          <a:lstStyle>
            <a:defPPr>
              <a:defRPr lang="en-US"/>
            </a:defPPr>
            <a:lvl1pPr marL="11906">
              <a:spcBef>
                <a:spcPts val="89"/>
              </a:spcBef>
              <a:defRPr sz="1100" b="1" spc="-107">
                <a:solidFill>
                  <a:srgbClr val="139ED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sz="1200" dirty="0"/>
              <a:t>SMART: </a:t>
            </a:r>
            <a:r>
              <a:rPr sz="1200" spc="9" dirty="0">
                <a:solidFill>
                  <a:srgbClr val="3E3E3E"/>
                </a:solidFill>
              </a:rPr>
              <a:t>Stronger</a:t>
            </a:r>
            <a:r>
              <a:rPr sz="1200" b="0" spc="9" dirty="0">
                <a:solidFill>
                  <a:srgbClr val="3E3E3E"/>
                </a:solidFill>
              </a:rPr>
              <a:t> cross-pillar decision-making and </a:t>
            </a:r>
            <a:r>
              <a:rPr sz="1200" spc="9" dirty="0">
                <a:solidFill>
                  <a:srgbClr val="3E3E3E"/>
                </a:solidFill>
              </a:rPr>
              <a:t>thought-leadership</a:t>
            </a:r>
            <a:r>
              <a:rPr sz="1200" b="0" spc="9" dirty="0">
                <a:solidFill>
                  <a:srgbClr val="3E3E3E"/>
                </a:solidFill>
              </a:rPr>
              <a:t> in a data-driven organization with impact</a:t>
            </a:r>
          </a:p>
        </p:txBody>
      </p:sp>
      <p:grpSp>
        <p:nvGrpSpPr>
          <p:cNvPr id="6" name="object 6"/>
          <p:cNvGrpSpPr/>
          <p:nvPr/>
        </p:nvGrpSpPr>
        <p:grpSpPr>
          <a:xfrm rot="179534">
            <a:off x="716855" y="2493763"/>
            <a:ext cx="1738313" cy="1481138"/>
            <a:chOff x="1179449" y="2660014"/>
            <a:chExt cx="1854200" cy="1579880"/>
          </a:xfrm>
        </p:grpSpPr>
        <p:sp>
          <p:nvSpPr>
            <p:cNvPr id="7" name="object 7"/>
            <p:cNvSpPr/>
            <p:nvPr/>
          </p:nvSpPr>
          <p:spPr>
            <a:xfrm>
              <a:off x="1192149" y="2672714"/>
              <a:ext cx="1828800" cy="1554480"/>
            </a:xfrm>
            <a:custGeom>
              <a:avLst/>
              <a:gdLst/>
              <a:ahLst/>
              <a:cxnLst/>
              <a:rect l="l" t="t" r="r" b="b"/>
              <a:pathLst>
                <a:path w="1828800" h="1554479">
                  <a:moveTo>
                    <a:pt x="1463039" y="0"/>
                  </a:moveTo>
                  <a:lnTo>
                    <a:pt x="365759" y="0"/>
                  </a:lnTo>
                  <a:lnTo>
                    <a:pt x="0" y="777239"/>
                  </a:lnTo>
                  <a:lnTo>
                    <a:pt x="365759" y="1554480"/>
                  </a:lnTo>
                  <a:lnTo>
                    <a:pt x="1463039" y="1554480"/>
                  </a:lnTo>
                  <a:lnTo>
                    <a:pt x="1828800" y="777239"/>
                  </a:lnTo>
                  <a:lnTo>
                    <a:pt x="1463039" y="0"/>
                  </a:lnTo>
                  <a:close/>
                </a:path>
              </a:pathLst>
            </a:custGeom>
            <a:solidFill>
              <a:srgbClr val="69C7F0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192149" y="2672714"/>
              <a:ext cx="1828800" cy="1554480"/>
            </a:xfrm>
            <a:custGeom>
              <a:avLst/>
              <a:gdLst/>
              <a:ahLst/>
              <a:cxnLst/>
              <a:rect l="l" t="t" r="r" b="b"/>
              <a:pathLst>
                <a:path w="1828800" h="1554479">
                  <a:moveTo>
                    <a:pt x="0" y="777239"/>
                  </a:moveTo>
                  <a:lnTo>
                    <a:pt x="365759" y="0"/>
                  </a:lnTo>
                  <a:lnTo>
                    <a:pt x="1463039" y="0"/>
                  </a:lnTo>
                  <a:lnTo>
                    <a:pt x="1828800" y="777239"/>
                  </a:lnTo>
                  <a:lnTo>
                    <a:pt x="1463039" y="1554480"/>
                  </a:lnTo>
                  <a:lnTo>
                    <a:pt x="365759" y="1554480"/>
                  </a:lnTo>
                  <a:lnTo>
                    <a:pt x="0" y="777239"/>
                  </a:lnTo>
                  <a:close/>
                </a:path>
              </a:pathLst>
            </a:custGeom>
            <a:ln w="25146">
              <a:solidFill>
                <a:srgbClr val="69C7F0"/>
              </a:solidFill>
            </a:ln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998281" y="3098482"/>
            <a:ext cx="917377" cy="181299"/>
          </a:xfrm>
          <a:prstGeom prst="rect">
            <a:avLst/>
          </a:prstGeom>
        </p:spPr>
        <p:txBody>
          <a:bodyPr vert="horz" wrap="square" lIns="0" tIns="11906" rIns="0" bIns="0" rtlCol="0">
            <a:spAutoFit/>
          </a:bodyPr>
          <a:lstStyle/>
          <a:p>
            <a:pPr marL="11906">
              <a:spcBef>
                <a:spcPts val="94"/>
              </a:spcBef>
            </a:pPr>
            <a:r>
              <a:rPr sz="1100" b="1" spc="-84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  <a:endParaRPr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251627" y="1519357"/>
            <a:ext cx="2320065" cy="4595217"/>
            <a:chOff x="526415" y="1620647"/>
            <a:chExt cx="2766060" cy="4901565"/>
          </a:xfrm>
        </p:grpSpPr>
        <p:sp>
          <p:nvSpPr>
            <p:cNvPr id="11" name="object 11"/>
            <p:cNvSpPr/>
            <p:nvPr/>
          </p:nvSpPr>
          <p:spPr>
            <a:xfrm>
              <a:off x="3017900" y="3449954"/>
              <a:ext cx="240665" cy="0"/>
            </a:xfrm>
            <a:custGeom>
              <a:avLst/>
              <a:gdLst/>
              <a:ahLst/>
              <a:cxnLst/>
              <a:rect l="l" t="t" r="r" b="b"/>
              <a:pathLst>
                <a:path w="240664">
                  <a:moveTo>
                    <a:pt x="0" y="0"/>
                  </a:moveTo>
                  <a:lnTo>
                    <a:pt x="240411" y="0"/>
                  </a:lnTo>
                </a:path>
              </a:pathLst>
            </a:custGeom>
            <a:ln w="25146">
              <a:solidFill>
                <a:srgbClr val="69C7F0"/>
              </a:solidFill>
            </a:ln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2774060" y="3142107"/>
              <a:ext cx="142875" cy="600710"/>
            </a:xfrm>
            <a:custGeom>
              <a:avLst/>
              <a:gdLst/>
              <a:ahLst/>
              <a:cxnLst/>
              <a:rect l="l" t="t" r="r" b="b"/>
              <a:pathLst>
                <a:path w="142875" h="600710">
                  <a:moveTo>
                    <a:pt x="0" y="0"/>
                  </a:moveTo>
                  <a:lnTo>
                    <a:pt x="142494" y="302005"/>
                  </a:lnTo>
                  <a:lnTo>
                    <a:pt x="100250" y="388768"/>
                  </a:lnTo>
                  <a:lnTo>
                    <a:pt x="53625" y="486902"/>
                  </a:lnTo>
                  <a:lnTo>
                    <a:pt x="15906" y="567199"/>
                  </a:lnTo>
                  <a:lnTo>
                    <a:pt x="381" y="600455"/>
                  </a:lnTo>
                </a:path>
              </a:pathLst>
            </a:custGeom>
            <a:ln w="2514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3279266" y="1633347"/>
              <a:ext cx="0" cy="4876165"/>
            </a:xfrm>
            <a:custGeom>
              <a:avLst/>
              <a:gdLst/>
              <a:ahLst/>
              <a:cxnLst/>
              <a:rect l="l" t="t" r="r" b="b"/>
              <a:pathLst>
                <a:path h="4876165">
                  <a:moveTo>
                    <a:pt x="0" y="0"/>
                  </a:moveTo>
                  <a:lnTo>
                    <a:pt x="0" y="4875898"/>
                  </a:lnTo>
                </a:path>
              </a:pathLst>
            </a:custGeom>
            <a:ln w="25146">
              <a:solidFill>
                <a:srgbClr val="69C7F0"/>
              </a:solidFill>
            </a:ln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39115" y="3512439"/>
              <a:ext cx="908050" cy="1554480"/>
            </a:xfrm>
            <a:custGeom>
              <a:avLst/>
              <a:gdLst/>
              <a:ahLst/>
              <a:cxnLst/>
              <a:rect l="l" t="t" r="r" b="b"/>
              <a:pathLst>
                <a:path w="908050" h="1554479">
                  <a:moveTo>
                    <a:pt x="541705" y="0"/>
                  </a:moveTo>
                  <a:lnTo>
                    <a:pt x="0" y="0"/>
                  </a:lnTo>
                  <a:lnTo>
                    <a:pt x="2539" y="1553845"/>
                  </a:lnTo>
                  <a:lnTo>
                    <a:pt x="541705" y="1554480"/>
                  </a:lnTo>
                  <a:lnTo>
                    <a:pt x="907541" y="777240"/>
                  </a:lnTo>
                  <a:lnTo>
                    <a:pt x="54170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539115" y="3512439"/>
              <a:ext cx="908050" cy="1554480"/>
            </a:xfrm>
            <a:custGeom>
              <a:avLst/>
              <a:gdLst/>
              <a:ahLst/>
              <a:cxnLst/>
              <a:rect l="l" t="t" r="r" b="b"/>
              <a:pathLst>
                <a:path w="908050" h="1554479">
                  <a:moveTo>
                    <a:pt x="0" y="0"/>
                  </a:moveTo>
                  <a:lnTo>
                    <a:pt x="541705" y="0"/>
                  </a:lnTo>
                  <a:lnTo>
                    <a:pt x="907541" y="777240"/>
                  </a:lnTo>
                  <a:lnTo>
                    <a:pt x="541705" y="1554480"/>
                  </a:lnTo>
                  <a:lnTo>
                    <a:pt x="2539" y="1553845"/>
                  </a:lnTo>
                </a:path>
              </a:pathLst>
            </a:custGeom>
            <a:ln w="25146">
              <a:solidFill>
                <a:srgbClr val="69C7F0"/>
              </a:solidFill>
            </a:ln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3379549" y="2323862"/>
            <a:ext cx="8748000" cy="196087"/>
          </a:xfrm>
          <a:prstGeom prst="rect">
            <a:avLst/>
          </a:prstGeom>
        </p:spPr>
        <p:txBody>
          <a:bodyPr vert="horz" wrap="square" lIns="0" tIns="11311" rIns="0" bIns="0" rtlCol="0">
            <a:spAutoFit/>
          </a:bodyPr>
          <a:lstStyle/>
          <a:p>
            <a:pPr marL="11906">
              <a:spcBef>
                <a:spcPts val="89"/>
              </a:spcBef>
            </a:pPr>
            <a:r>
              <a:rPr sz="1200" b="1" spc="-107" dirty="0">
                <a:solidFill>
                  <a:srgbClr val="139E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ED</a:t>
            </a:r>
            <a:r>
              <a:rPr sz="1200" spc="-107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sz="1200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er</a:t>
            </a:r>
            <a:r>
              <a:rPr sz="120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7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sz="1200" spc="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38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sz="1200" b="1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ing</a:t>
            </a:r>
            <a:r>
              <a:rPr sz="1200" b="1" spc="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7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ross</a:t>
            </a:r>
            <a:r>
              <a:rPr sz="1200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1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  <a:r>
              <a:rPr sz="1200" b="1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2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</a:t>
            </a:r>
            <a:r>
              <a:rPr sz="1200" b="1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systems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379549" y="3012519"/>
            <a:ext cx="8748000" cy="196087"/>
          </a:xfrm>
          <a:prstGeom prst="rect">
            <a:avLst/>
          </a:prstGeom>
        </p:spPr>
        <p:txBody>
          <a:bodyPr vert="horz" wrap="square" lIns="0" tIns="11311" rIns="0" bIns="0" rtlCol="0">
            <a:spAutoFit/>
          </a:bodyPr>
          <a:lstStyle/>
          <a:p>
            <a:pPr marL="11906">
              <a:spcBef>
                <a:spcPts val="89"/>
              </a:spcBef>
            </a:pPr>
            <a:r>
              <a:rPr sz="1200" b="1" spc="-89" dirty="0">
                <a:solidFill>
                  <a:srgbClr val="139E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ED</a:t>
            </a:r>
            <a:r>
              <a:rPr sz="1200" spc="-89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sz="1200" spc="-9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42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</a:t>
            </a:r>
            <a:r>
              <a:rPr sz="120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sz="1200" b="1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20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52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</a:t>
            </a:r>
            <a:r>
              <a:rPr sz="1200" spc="-1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sz="1200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1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rture</a:t>
            </a:r>
            <a:r>
              <a:rPr sz="1200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7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sz="1200" spc="38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</a:t>
            </a:r>
            <a:r>
              <a:rPr sz="1200" b="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200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on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79549" y="3701176"/>
            <a:ext cx="8748000" cy="196087"/>
          </a:xfrm>
          <a:prstGeom prst="rect">
            <a:avLst/>
          </a:prstGeom>
        </p:spPr>
        <p:txBody>
          <a:bodyPr vert="horz" wrap="square" lIns="0" tIns="11311" rIns="0" bIns="0" rtlCol="0">
            <a:spAutoFit/>
          </a:bodyPr>
          <a:lstStyle/>
          <a:p>
            <a:pPr marL="11906">
              <a:spcBef>
                <a:spcPts val="89"/>
              </a:spcBef>
            </a:pPr>
            <a:r>
              <a:rPr sz="1200" b="1" spc="-47" dirty="0">
                <a:solidFill>
                  <a:srgbClr val="139E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LE</a:t>
            </a:r>
            <a:r>
              <a:rPr sz="1200" spc="-47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sz="1200" spc="-14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47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ust</a:t>
            </a:r>
            <a:r>
              <a:rPr sz="1200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1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sz="1200" b="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2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tion</a:t>
            </a:r>
            <a:r>
              <a:rPr sz="1200" b="1" spc="-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r>
              <a:rPr sz="1200" b="1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cy</a:t>
            </a:r>
            <a:r>
              <a:rPr sz="120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sz="1200" spc="-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28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tion</a:t>
            </a:r>
            <a:r>
              <a:rPr sz="1200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6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200" b="1" spc="-28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s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79549" y="4390786"/>
            <a:ext cx="8748000" cy="196087"/>
          </a:xfrm>
          <a:prstGeom prst="rect">
            <a:avLst/>
          </a:prstGeom>
        </p:spPr>
        <p:txBody>
          <a:bodyPr vert="horz" wrap="square" lIns="0" tIns="11311" rIns="0" bIns="0" rtlCol="0">
            <a:spAutoFit/>
          </a:bodyPr>
          <a:lstStyle/>
          <a:p>
            <a:pPr marL="11906">
              <a:spcBef>
                <a:spcPts val="89"/>
              </a:spcBef>
            </a:pPr>
            <a:r>
              <a:rPr sz="1200" b="1" spc="-61" dirty="0">
                <a:solidFill>
                  <a:srgbClr val="139E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T</a:t>
            </a:r>
            <a:r>
              <a:rPr sz="1200" spc="-61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sz="1200" spc="-5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er</a:t>
            </a:r>
            <a:r>
              <a:rPr sz="1200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66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cy</a:t>
            </a:r>
            <a:r>
              <a:rPr sz="120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38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sz="1200" spc="1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2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s</a:t>
            </a:r>
            <a:r>
              <a:rPr sz="1200" spc="-2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sz="1200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  <a:r>
              <a:rPr sz="1200" b="1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2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r>
              <a:rPr sz="1200" b="1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3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</a:t>
            </a:r>
            <a:r>
              <a:rPr sz="1200" b="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</a:t>
            </a:r>
            <a:r>
              <a:rPr sz="1200" b="1" spc="-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200" b="1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</a:t>
            </a:r>
            <a:r>
              <a:rPr sz="1200" b="1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379549" y="5079443"/>
            <a:ext cx="8748000" cy="380753"/>
          </a:xfrm>
          <a:prstGeom prst="rect">
            <a:avLst/>
          </a:prstGeom>
        </p:spPr>
        <p:txBody>
          <a:bodyPr vert="horz" wrap="square" lIns="0" tIns="11311" rIns="0" bIns="0" rtlCol="0">
            <a:spAutoFit/>
          </a:bodyPr>
          <a:lstStyle/>
          <a:p>
            <a:pPr marL="11906">
              <a:spcBef>
                <a:spcPts val="89"/>
              </a:spcBef>
            </a:pPr>
            <a:r>
              <a:rPr sz="1200" b="1" spc="-98" dirty="0">
                <a:solidFill>
                  <a:srgbClr val="139E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OUNTABLE</a:t>
            </a:r>
            <a:r>
              <a:rPr sz="1200" spc="-98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sz="1200" spc="-14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42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arency</a:t>
            </a:r>
            <a:r>
              <a:rPr sz="1200" b="1" spc="1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38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sz="120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s</a:t>
            </a:r>
            <a:r>
              <a:rPr sz="1200" b="1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sz="1200" b="1" spc="-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7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ross</a:t>
            </a:r>
            <a:r>
              <a:rPr sz="1200" spc="-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38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sz="1200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200" spc="-66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grid</a:t>
            </a:r>
            <a:r>
              <a:rPr sz="1200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6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y,</a:t>
            </a:r>
            <a:r>
              <a:rPr sz="1200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20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2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sz="1200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38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</a:t>
            </a:r>
            <a:r>
              <a:rPr sz="1200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42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sz="120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3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</a:t>
            </a:r>
            <a:r>
              <a:rPr sz="1200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200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8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sz="1200" spc="56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-1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379549" y="5768101"/>
            <a:ext cx="8748000" cy="380753"/>
          </a:xfrm>
          <a:prstGeom prst="rect">
            <a:avLst/>
          </a:prstGeom>
        </p:spPr>
        <p:txBody>
          <a:bodyPr vert="horz" wrap="square" lIns="0" tIns="11311" rIns="0" bIns="0" rtlCol="0">
            <a:spAutoFit/>
          </a:bodyPr>
          <a:lstStyle/>
          <a:p>
            <a:pPr marL="11906">
              <a:spcBef>
                <a:spcPts val="89"/>
              </a:spcBef>
            </a:pPr>
            <a:r>
              <a:rPr sz="1200" b="1" spc="-66" dirty="0">
                <a:solidFill>
                  <a:srgbClr val="139E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EVANT</a:t>
            </a:r>
            <a:r>
              <a:rPr sz="1200" spc="-66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sz="1200" spc="-19" dirty="0">
                <a:solidFill>
                  <a:srgbClr val="7E7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sz="1200" spc="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-driven</a:t>
            </a:r>
            <a:r>
              <a:rPr sz="1200" b="1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b="1" spc="1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  <a:r>
              <a:rPr sz="1200" b="1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2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sz="1200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56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sz="1200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47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keholders,</a:t>
            </a:r>
            <a:r>
              <a:rPr sz="1200" spc="-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28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sz="1200" spc="-14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117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1200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47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le,</a:t>
            </a:r>
            <a:r>
              <a:rPr sz="1200" spc="-1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200" spc="6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</a:t>
            </a:r>
            <a:r>
              <a:rPr sz="1200" spc="6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ased</a:t>
            </a:r>
            <a:r>
              <a:rPr sz="1200" spc="-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61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sz="1200" spc="-23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9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sz="1200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47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sz="1200" spc="5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spc="56" dirty="0">
                <a:solidFill>
                  <a:srgbClr val="3E3E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ies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850061" y="2075617"/>
            <a:ext cx="8231981" cy="0"/>
          </a:xfrm>
          <a:custGeom>
            <a:avLst/>
            <a:gdLst/>
            <a:ahLst/>
            <a:cxnLst/>
            <a:rect l="l" t="t" r="r" b="b"/>
            <a:pathLst>
              <a:path w="8780780">
                <a:moveTo>
                  <a:pt x="0" y="0"/>
                </a:moveTo>
                <a:lnTo>
                  <a:pt x="8780399" y="0"/>
                </a:lnTo>
              </a:path>
            </a:pathLst>
          </a:custGeom>
          <a:ln w="9906">
            <a:solidFill>
              <a:srgbClr val="69C7F0"/>
            </a:solidFill>
          </a:ln>
        </p:spPr>
        <p:txBody>
          <a:bodyPr wrap="square" lIns="0" tIns="0" rIns="0" bIns="0" rtlCol="0"/>
          <a:lstStyle/>
          <a:p>
            <a:endParaRPr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850061" y="2763560"/>
            <a:ext cx="8231981" cy="0"/>
          </a:xfrm>
          <a:custGeom>
            <a:avLst/>
            <a:gdLst/>
            <a:ahLst/>
            <a:cxnLst/>
            <a:rect l="l" t="t" r="r" b="b"/>
            <a:pathLst>
              <a:path w="8780780">
                <a:moveTo>
                  <a:pt x="0" y="0"/>
                </a:moveTo>
                <a:lnTo>
                  <a:pt x="8780399" y="0"/>
                </a:lnTo>
              </a:path>
            </a:pathLst>
          </a:custGeom>
          <a:ln w="9906">
            <a:solidFill>
              <a:srgbClr val="69C7F0"/>
            </a:solidFill>
          </a:ln>
        </p:spPr>
        <p:txBody>
          <a:bodyPr wrap="square" lIns="0" tIns="0" rIns="0" bIns="0" rtlCol="0"/>
          <a:lstStyle/>
          <a:p>
            <a:endParaRPr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2850061" y="3450788"/>
            <a:ext cx="8231981" cy="0"/>
          </a:xfrm>
          <a:custGeom>
            <a:avLst/>
            <a:gdLst/>
            <a:ahLst/>
            <a:cxnLst/>
            <a:rect l="l" t="t" r="r" b="b"/>
            <a:pathLst>
              <a:path w="8780780">
                <a:moveTo>
                  <a:pt x="0" y="0"/>
                </a:moveTo>
                <a:lnTo>
                  <a:pt x="8780399" y="0"/>
                </a:lnTo>
              </a:path>
            </a:pathLst>
          </a:custGeom>
          <a:ln w="9906">
            <a:solidFill>
              <a:srgbClr val="69C7F0"/>
            </a:solidFill>
          </a:ln>
        </p:spPr>
        <p:txBody>
          <a:bodyPr wrap="square" lIns="0" tIns="0" rIns="0" bIns="0" rtlCol="0"/>
          <a:lstStyle/>
          <a:p>
            <a:endParaRPr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2850061" y="4138731"/>
            <a:ext cx="8231981" cy="0"/>
          </a:xfrm>
          <a:custGeom>
            <a:avLst/>
            <a:gdLst/>
            <a:ahLst/>
            <a:cxnLst/>
            <a:rect l="l" t="t" r="r" b="b"/>
            <a:pathLst>
              <a:path w="8780780">
                <a:moveTo>
                  <a:pt x="0" y="0"/>
                </a:moveTo>
                <a:lnTo>
                  <a:pt x="8780399" y="0"/>
                </a:lnTo>
              </a:path>
            </a:pathLst>
          </a:custGeom>
          <a:ln w="9906">
            <a:solidFill>
              <a:srgbClr val="69C7F0"/>
            </a:solidFill>
          </a:ln>
        </p:spPr>
        <p:txBody>
          <a:bodyPr wrap="square" lIns="0" tIns="0" rIns="0" bIns="0" rtlCol="0"/>
          <a:lstStyle/>
          <a:p>
            <a:endParaRPr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2850061" y="4825959"/>
            <a:ext cx="8231981" cy="0"/>
          </a:xfrm>
          <a:custGeom>
            <a:avLst/>
            <a:gdLst/>
            <a:ahLst/>
            <a:cxnLst/>
            <a:rect l="l" t="t" r="r" b="b"/>
            <a:pathLst>
              <a:path w="8780780">
                <a:moveTo>
                  <a:pt x="0" y="0"/>
                </a:moveTo>
                <a:lnTo>
                  <a:pt x="8780399" y="0"/>
                </a:lnTo>
              </a:path>
            </a:pathLst>
          </a:custGeom>
          <a:ln w="9906">
            <a:solidFill>
              <a:srgbClr val="69C7F0"/>
            </a:solidFill>
          </a:ln>
        </p:spPr>
        <p:txBody>
          <a:bodyPr wrap="square" lIns="0" tIns="0" rIns="0" bIns="0" rtlCol="0"/>
          <a:lstStyle/>
          <a:p>
            <a:endParaRPr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2850061" y="5513188"/>
            <a:ext cx="8231981" cy="0"/>
          </a:xfrm>
          <a:custGeom>
            <a:avLst/>
            <a:gdLst/>
            <a:ahLst/>
            <a:cxnLst/>
            <a:rect l="l" t="t" r="r" b="b"/>
            <a:pathLst>
              <a:path w="8780780">
                <a:moveTo>
                  <a:pt x="0" y="0"/>
                </a:moveTo>
                <a:lnTo>
                  <a:pt x="8780399" y="0"/>
                </a:lnTo>
              </a:path>
            </a:pathLst>
          </a:custGeom>
          <a:ln w="9906">
            <a:solidFill>
              <a:srgbClr val="69C7F0"/>
            </a:solidFill>
          </a:ln>
        </p:spPr>
        <p:txBody>
          <a:bodyPr wrap="square" lIns="0" tIns="0" rIns="0" bIns="0" rtlCol="0"/>
          <a:lstStyle/>
          <a:p>
            <a:endParaRPr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2788267" y="1530906"/>
            <a:ext cx="481608" cy="412552"/>
            <a:chOff x="3523488" y="1632966"/>
            <a:chExt cx="513715" cy="440055"/>
          </a:xfrm>
        </p:grpSpPr>
        <p:sp>
          <p:nvSpPr>
            <p:cNvPr id="29" name="object 29"/>
            <p:cNvSpPr/>
            <p:nvPr/>
          </p:nvSpPr>
          <p:spPr>
            <a:xfrm>
              <a:off x="3523488" y="1632966"/>
              <a:ext cx="513715" cy="440055"/>
            </a:xfrm>
            <a:custGeom>
              <a:avLst/>
              <a:gdLst/>
              <a:ahLst/>
              <a:cxnLst/>
              <a:rect l="l" t="t" r="r" b="b"/>
              <a:pathLst>
                <a:path w="513714" h="440055">
                  <a:moveTo>
                    <a:pt x="403733" y="0"/>
                  </a:moveTo>
                  <a:lnTo>
                    <a:pt x="109982" y="0"/>
                  </a:lnTo>
                  <a:lnTo>
                    <a:pt x="0" y="219837"/>
                  </a:lnTo>
                  <a:lnTo>
                    <a:pt x="109982" y="439674"/>
                  </a:lnTo>
                  <a:lnTo>
                    <a:pt x="403733" y="439674"/>
                  </a:lnTo>
                  <a:lnTo>
                    <a:pt x="513588" y="219837"/>
                  </a:lnTo>
                  <a:lnTo>
                    <a:pt x="403733" y="0"/>
                  </a:lnTo>
                  <a:close/>
                </a:path>
              </a:pathLst>
            </a:custGeom>
            <a:solidFill>
              <a:srgbClr val="69C7F0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object 3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715512" y="1914906"/>
              <a:ext cx="87629" cy="87630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3672078" y="1719072"/>
              <a:ext cx="280035" cy="182880"/>
            </a:xfrm>
            <a:custGeom>
              <a:avLst/>
              <a:gdLst/>
              <a:ahLst/>
              <a:cxnLst/>
              <a:rect l="l" t="t" r="r" b="b"/>
              <a:pathLst>
                <a:path w="280035" h="182880">
                  <a:moveTo>
                    <a:pt x="87630" y="0"/>
                  </a:moveTo>
                  <a:lnTo>
                    <a:pt x="53863" y="7002"/>
                  </a:lnTo>
                  <a:lnTo>
                    <a:pt x="26193" y="25638"/>
                  </a:lnTo>
                  <a:lnTo>
                    <a:pt x="7334" y="53203"/>
                  </a:lnTo>
                  <a:lnTo>
                    <a:pt x="0" y="86994"/>
                  </a:lnTo>
                  <a:lnTo>
                    <a:pt x="0" y="90042"/>
                  </a:lnTo>
                  <a:lnTo>
                    <a:pt x="9066" y="127327"/>
                  </a:lnTo>
                  <a:lnTo>
                    <a:pt x="21336" y="145668"/>
                  </a:lnTo>
                  <a:lnTo>
                    <a:pt x="27408" y="153531"/>
                  </a:lnTo>
                  <a:lnTo>
                    <a:pt x="33242" y="162845"/>
                  </a:lnTo>
                  <a:lnTo>
                    <a:pt x="38266" y="171922"/>
                  </a:lnTo>
                  <a:lnTo>
                    <a:pt x="41910" y="179069"/>
                  </a:lnTo>
                  <a:lnTo>
                    <a:pt x="42925" y="181482"/>
                  </a:lnTo>
                  <a:lnTo>
                    <a:pt x="45338" y="182879"/>
                  </a:lnTo>
                  <a:lnTo>
                    <a:pt x="129921" y="182879"/>
                  </a:lnTo>
                  <a:lnTo>
                    <a:pt x="132207" y="181482"/>
                  </a:lnTo>
                  <a:lnTo>
                    <a:pt x="133350" y="179069"/>
                  </a:lnTo>
                  <a:lnTo>
                    <a:pt x="136975" y="171922"/>
                  </a:lnTo>
                  <a:lnTo>
                    <a:pt x="141970" y="162845"/>
                  </a:lnTo>
                  <a:lnTo>
                    <a:pt x="142148" y="162560"/>
                  </a:lnTo>
                  <a:lnTo>
                    <a:pt x="56134" y="162560"/>
                  </a:lnTo>
                  <a:lnTo>
                    <a:pt x="31623" y="126618"/>
                  </a:lnTo>
                  <a:lnTo>
                    <a:pt x="27686" y="120268"/>
                  </a:lnTo>
                  <a:lnTo>
                    <a:pt x="22098" y="105917"/>
                  </a:lnTo>
                  <a:lnTo>
                    <a:pt x="20570" y="97841"/>
                  </a:lnTo>
                  <a:lnTo>
                    <a:pt x="20204" y="90042"/>
                  </a:lnTo>
                  <a:lnTo>
                    <a:pt x="20248" y="86994"/>
                  </a:lnTo>
                  <a:lnTo>
                    <a:pt x="25872" y="61182"/>
                  </a:lnTo>
                  <a:lnTo>
                    <a:pt x="40385" y="39973"/>
                  </a:lnTo>
                  <a:lnTo>
                    <a:pt x="61662" y="25669"/>
                  </a:lnTo>
                  <a:lnTo>
                    <a:pt x="87630" y="20319"/>
                  </a:lnTo>
                  <a:lnTo>
                    <a:pt x="140609" y="20319"/>
                  </a:lnTo>
                  <a:lnTo>
                    <a:pt x="121449" y="7264"/>
                  </a:lnTo>
                  <a:lnTo>
                    <a:pt x="87630" y="0"/>
                  </a:lnTo>
                  <a:close/>
                </a:path>
                <a:path w="280035" h="182880">
                  <a:moveTo>
                    <a:pt x="279654" y="94868"/>
                  </a:moveTo>
                  <a:lnTo>
                    <a:pt x="204088" y="95123"/>
                  </a:lnTo>
                  <a:lnTo>
                    <a:pt x="143763" y="125602"/>
                  </a:lnTo>
                  <a:lnTo>
                    <a:pt x="142239" y="127888"/>
                  </a:lnTo>
                  <a:lnTo>
                    <a:pt x="140588" y="130048"/>
                  </a:lnTo>
                  <a:lnTo>
                    <a:pt x="119125" y="162560"/>
                  </a:lnTo>
                  <a:lnTo>
                    <a:pt x="142148" y="162560"/>
                  </a:lnTo>
                  <a:lnTo>
                    <a:pt x="147798" y="153531"/>
                  </a:lnTo>
                  <a:lnTo>
                    <a:pt x="153924" y="145668"/>
                  </a:lnTo>
                  <a:lnTo>
                    <a:pt x="156845" y="142239"/>
                  </a:lnTo>
                  <a:lnTo>
                    <a:pt x="159512" y="138556"/>
                  </a:lnTo>
                  <a:lnTo>
                    <a:pt x="161925" y="134747"/>
                  </a:lnTo>
                  <a:lnTo>
                    <a:pt x="191643" y="134747"/>
                  </a:lnTo>
                  <a:lnTo>
                    <a:pt x="180721" y="129286"/>
                  </a:lnTo>
                  <a:lnTo>
                    <a:pt x="180721" y="121919"/>
                  </a:lnTo>
                  <a:lnTo>
                    <a:pt x="207645" y="108330"/>
                  </a:lnTo>
                  <a:lnTo>
                    <a:pt x="279654" y="108330"/>
                  </a:lnTo>
                  <a:lnTo>
                    <a:pt x="279654" y="94868"/>
                  </a:lnTo>
                  <a:close/>
                </a:path>
                <a:path w="280035" h="182880">
                  <a:moveTo>
                    <a:pt x="191643" y="134747"/>
                  </a:moveTo>
                  <a:lnTo>
                    <a:pt x="161925" y="134747"/>
                  </a:lnTo>
                  <a:lnTo>
                    <a:pt x="204343" y="156210"/>
                  </a:lnTo>
                  <a:lnTo>
                    <a:pt x="279654" y="156210"/>
                  </a:lnTo>
                  <a:lnTo>
                    <a:pt x="279654" y="142748"/>
                  </a:lnTo>
                  <a:lnTo>
                    <a:pt x="207645" y="142748"/>
                  </a:lnTo>
                  <a:lnTo>
                    <a:pt x="191643" y="134747"/>
                  </a:lnTo>
                  <a:close/>
                </a:path>
                <a:path w="280035" h="182880">
                  <a:moveTo>
                    <a:pt x="279654" y="108330"/>
                  </a:moveTo>
                  <a:lnTo>
                    <a:pt x="207645" y="108330"/>
                  </a:lnTo>
                  <a:lnTo>
                    <a:pt x="217043" y="108712"/>
                  </a:lnTo>
                  <a:lnTo>
                    <a:pt x="224536" y="116458"/>
                  </a:lnTo>
                  <a:lnTo>
                    <a:pt x="224536" y="135254"/>
                  </a:lnTo>
                  <a:lnTo>
                    <a:pt x="216916" y="142748"/>
                  </a:lnTo>
                  <a:lnTo>
                    <a:pt x="279654" y="142748"/>
                  </a:lnTo>
                  <a:lnTo>
                    <a:pt x="279654" y="108330"/>
                  </a:lnTo>
                  <a:close/>
                </a:path>
                <a:path w="280035" h="182880">
                  <a:moveTo>
                    <a:pt x="140609" y="20319"/>
                  </a:moveTo>
                  <a:lnTo>
                    <a:pt x="87630" y="20319"/>
                  </a:lnTo>
                  <a:lnTo>
                    <a:pt x="113595" y="25669"/>
                  </a:lnTo>
                  <a:lnTo>
                    <a:pt x="134858" y="39973"/>
                  </a:lnTo>
                  <a:lnTo>
                    <a:pt x="149334" y="61182"/>
                  </a:lnTo>
                  <a:lnTo>
                    <a:pt x="154885" y="86994"/>
                  </a:lnTo>
                  <a:lnTo>
                    <a:pt x="154939" y="93472"/>
                  </a:lnTo>
                  <a:lnTo>
                    <a:pt x="159512" y="97916"/>
                  </a:lnTo>
                  <a:lnTo>
                    <a:pt x="170687" y="97916"/>
                  </a:lnTo>
                  <a:lnTo>
                    <a:pt x="175260" y="93472"/>
                  </a:lnTo>
                  <a:lnTo>
                    <a:pt x="175150" y="87249"/>
                  </a:lnTo>
                  <a:lnTo>
                    <a:pt x="167943" y="53846"/>
                  </a:lnTo>
                  <a:lnTo>
                    <a:pt x="149113" y="26114"/>
                  </a:lnTo>
                  <a:lnTo>
                    <a:pt x="140609" y="2031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" name="object 32"/>
          <p:cNvGrpSpPr/>
          <p:nvPr/>
        </p:nvGrpSpPr>
        <p:grpSpPr>
          <a:xfrm>
            <a:off x="2788267" y="2218849"/>
            <a:ext cx="481608" cy="413147"/>
            <a:chOff x="3523488" y="2366772"/>
            <a:chExt cx="513715" cy="440690"/>
          </a:xfrm>
        </p:grpSpPr>
        <p:sp>
          <p:nvSpPr>
            <p:cNvPr id="33" name="object 33"/>
            <p:cNvSpPr/>
            <p:nvPr/>
          </p:nvSpPr>
          <p:spPr>
            <a:xfrm>
              <a:off x="3523488" y="2366772"/>
              <a:ext cx="513715" cy="440690"/>
            </a:xfrm>
            <a:custGeom>
              <a:avLst/>
              <a:gdLst/>
              <a:ahLst/>
              <a:cxnLst/>
              <a:rect l="l" t="t" r="r" b="b"/>
              <a:pathLst>
                <a:path w="513714" h="440689">
                  <a:moveTo>
                    <a:pt x="403478" y="0"/>
                  </a:moveTo>
                  <a:lnTo>
                    <a:pt x="110109" y="0"/>
                  </a:lnTo>
                  <a:lnTo>
                    <a:pt x="0" y="220217"/>
                  </a:lnTo>
                  <a:lnTo>
                    <a:pt x="110109" y="440436"/>
                  </a:lnTo>
                  <a:lnTo>
                    <a:pt x="403478" y="440436"/>
                  </a:lnTo>
                  <a:lnTo>
                    <a:pt x="513588" y="220217"/>
                  </a:lnTo>
                  <a:lnTo>
                    <a:pt x="403478" y="0"/>
                  </a:lnTo>
                  <a:close/>
                </a:path>
              </a:pathLst>
            </a:custGeom>
            <a:solidFill>
              <a:srgbClr val="69C7F0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3657189" y="2460849"/>
              <a:ext cx="224154" cy="254635"/>
            </a:xfrm>
            <a:custGeom>
              <a:avLst/>
              <a:gdLst/>
              <a:ahLst/>
              <a:cxnLst/>
              <a:rect l="l" t="t" r="r" b="b"/>
              <a:pathLst>
                <a:path w="224154" h="254635">
                  <a:moveTo>
                    <a:pt x="34004" y="0"/>
                  </a:moveTo>
                  <a:lnTo>
                    <a:pt x="22127" y="664"/>
                  </a:lnTo>
                  <a:lnTo>
                    <a:pt x="11433" y="5826"/>
                  </a:lnTo>
                  <a:lnTo>
                    <a:pt x="3823" y="14428"/>
                  </a:lnTo>
                  <a:lnTo>
                    <a:pt x="0" y="25292"/>
                  </a:lnTo>
                  <a:lnTo>
                    <a:pt x="664" y="37240"/>
                  </a:lnTo>
                  <a:lnTo>
                    <a:pt x="5824" y="47934"/>
                  </a:lnTo>
                  <a:lnTo>
                    <a:pt x="14412" y="55544"/>
                  </a:lnTo>
                  <a:lnTo>
                    <a:pt x="25239" y="59368"/>
                  </a:lnTo>
                  <a:lnTo>
                    <a:pt x="37113" y="58703"/>
                  </a:lnTo>
                  <a:lnTo>
                    <a:pt x="44541" y="55707"/>
                  </a:lnTo>
                  <a:lnTo>
                    <a:pt x="50813" y="50925"/>
                  </a:lnTo>
                  <a:lnTo>
                    <a:pt x="55633" y="44666"/>
                  </a:lnTo>
                  <a:lnTo>
                    <a:pt x="58703" y="37240"/>
                  </a:lnTo>
                  <a:lnTo>
                    <a:pt x="104550" y="37240"/>
                  </a:lnTo>
                  <a:lnTo>
                    <a:pt x="104550" y="98200"/>
                  </a:lnTo>
                  <a:lnTo>
                    <a:pt x="93876" y="103435"/>
                  </a:lnTo>
                  <a:lnTo>
                    <a:pt x="86310" y="112075"/>
                  </a:lnTo>
                  <a:lnTo>
                    <a:pt x="82530" y="122953"/>
                  </a:lnTo>
                  <a:lnTo>
                    <a:pt x="83214" y="134903"/>
                  </a:lnTo>
                  <a:lnTo>
                    <a:pt x="86209" y="142311"/>
                  </a:lnTo>
                  <a:lnTo>
                    <a:pt x="90977" y="148540"/>
                  </a:lnTo>
                  <a:lnTo>
                    <a:pt x="97198" y="153316"/>
                  </a:lnTo>
                  <a:lnTo>
                    <a:pt x="104550" y="156366"/>
                  </a:lnTo>
                  <a:lnTo>
                    <a:pt x="104550" y="232439"/>
                  </a:lnTo>
                  <a:lnTo>
                    <a:pt x="165510" y="232439"/>
                  </a:lnTo>
                  <a:lnTo>
                    <a:pt x="170670" y="243135"/>
                  </a:lnTo>
                  <a:lnTo>
                    <a:pt x="179258" y="250759"/>
                  </a:lnTo>
                  <a:lnTo>
                    <a:pt x="190085" y="254621"/>
                  </a:lnTo>
                  <a:lnTo>
                    <a:pt x="201959" y="254029"/>
                  </a:lnTo>
                  <a:lnTo>
                    <a:pt x="212709" y="248794"/>
                  </a:lnTo>
                  <a:lnTo>
                    <a:pt x="220327" y="240155"/>
                  </a:lnTo>
                  <a:lnTo>
                    <a:pt x="224158" y="229276"/>
                  </a:lnTo>
                  <a:lnTo>
                    <a:pt x="223549" y="217326"/>
                  </a:lnTo>
                  <a:lnTo>
                    <a:pt x="219487" y="208242"/>
                  </a:lnTo>
                  <a:lnTo>
                    <a:pt x="212865" y="201134"/>
                  </a:lnTo>
                  <a:lnTo>
                    <a:pt x="204315" y="196502"/>
                  </a:lnTo>
                  <a:lnTo>
                    <a:pt x="194466" y="194847"/>
                  </a:lnTo>
                  <a:lnTo>
                    <a:pt x="184691" y="196502"/>
                  </a:lnTo>
                  <a:lnTo>
                    <a:pt x="176178" y="201134"/>
                  </a:lnTo>
                  <a:lnTo>
                    <a:pt x="169570" y="208242"/>
                  </a:lnTo>
                  <a:lnTo>
                    <a:pt x="165510" y="217326"/>
                  </a:lnTo>
                  <a:lnTo>
                    <a:pt x="119536" y="217326"/>
                  </a:lnTo>
                  <a:lnTo>
                    <a:pt x="119536" y="156366"/>
                  </a:lnTo>
                  <a:lnTo>
                    <a:pt x="130230" y="151131"/>
                  </a:lnTo>
                  <a:lnTo>
                    <a:pt x="137840" y="142492"/>
                  </a:lnTo>
                  <a:lnTo>
                    <a:pt x="141664" y="131613"/>
                  </a:lnTo>
                  <a:lnTo>
                    <a:pt x="140999" y="119663"/>
                  </a:lnTo>
                  <a:lnTo>
                    <a:pt x="137949" y="112309"/>
                  </a:lnTo>
                  <a:lnTo>
                    <a:pt x="133173" y="106074"/>
                  </a:lnTo>
                  <a:lnTo>
                    <a:pt x="126944" y="101268"/>
                  </a:lnTo>
                  <a:lnTo>
                    <a:pt x="119536" y="98200"/>
                  </a:lnTo>
                  <a:lnTo>
                    <a:pt x="119536" y="22127"/>
                  </a:lnTo>
                  <a:lnTo>
                    <a:pt x="58703" y="22127"/>
                  </a:lnTo>
                  <a:lnTo>
                    <a:pt x="53470" y="11433"/>
                  </a:lnTo>
                  <a:lnTo>
                    <a:pt x="44844" y="3823"/>
                  </a:lnTo>
                  <a:lnTo>
                    <a:pt x="340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object 35"/>
          <p:cNvGrpSpPr/>
          <p:nvPr/>
        </p:nvGrpSpPr>
        <p:grpSpPr>
          <a:xfrm>
            <a:off x="2788267" y="2906791"/>
            <a:ext cx="481608" cy="413147"/>
            <a:chOff x="3523488" y="3100577"/>
            <a:chExt cx="513715" cy="440690"/>
          </a:xfrm>
        </p:grpSpPr>
        <p:sp>
          <p:nvSpPr>
            <p:cNvPr id="36" name="object 36"/>
            <p:cNvSpPr/>
            <p:nvPr/>
          </p:nvSpPr>
          <p:spPr>
            <a:xfrm>
              <a:off x="3523488" y="3100577"/>
              <a:ext cx="513715" cy="440690"/>
            </a:xfrm>
            <a:custGeom>
              <a:avLst/>
              <a:gdLst/>
              <a:ahLst/>
              <a:cxnLst/>
              <a:rect l="l" t="t" r="r" b="b"/>
              <a:pathLst>
                <a:path w="513714" h="440689">
                  <a:moveTo>
                    <a:pt x="403478" y="0"/>
                  </a:moveTo>
                  <a:lnTo>
                    <a:pt x="110109" y="0"/>
                  </a:lnTo>
                  <a:lnTo>
                    <a:pt x="0" y="220218"/>
                  </a:lnTo>
                  <a:lnTo>
                    <a:pt x="110109" y="440436"/>
                  </a:lnTo>
                  <a:lnTo>
                    <a:pt x="403478" y="440436"/>
                  </a:lnTo>
                  <a:lnTo>
                    <a:pt x="513588" y="220218"/>
                  </a:lnTo>
                  <a:lnTo>
                    <a:pt x="403478" y="0"/>
                  </a:lnTo>
                  <a:close/>
                </a:path>
              </a:pathLst>
            </a:custGeom>
            <a:solidFill>
              <a:srgbClr val="69C7F0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7" name="object 3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660648" y="3233927"/>
              <a:ext cx="263651" cy="188975"/>
            </a:xfrm>
            <a:prstGeom prst="rect">
              <a:avLst/>
            </a:prstGeom>
          </p:spPr>
        </p:pic>
      </p:grpSp>
      <p:grpSp>
        <p:nvGrpSpPr>
          <p:cNvPr id="38" name="object 38"/>
          <p:cNvGrpSpPr/>
          <p:nvPr/>
        </p:nvGrpSpPr>
        <p:grpSpPr>
          <a:xfrm>
            <a:off x="2788267" y="3595450"/>
            <a:ext cx="481608" cy="412552"/>
            <a:chOff x="3523488" y="3835146"/>
            <a:chExt cx="513715" cy="440055"/>
          </a:xfrm>
        </p:grpSpPr>
        <p:sp>
          <p:nvSpPr>
            <p:cNvPr id="39" name="object 39"/>
            <p:cNvSpPr/>
            <p:nvPr/>
          </p:nvSpPr>
          <p:spPr>
            <a:xfrm>
              <a:off x="3523488" y="3835146"/>
              <a:ext cx="513715" cy="440055"/>
            </a:xfrm>
            <a:custGeom>
              <a:avLst/>
              <a:gdLst/>
              <a:ahLst/>
              <a:cxnLst/>
              <a:rect l="l" t="t" r="r" b="b"/>
              <a:pathLst>
                <a:path w="513714" h="440054">
                  <a:moveTo>
                    <a:pt x="403733" y="0"/>
                  </a:moveTo>
                  <a:lnTo>
                    <a:pt x="109982" y="0"/>
                  </a:lnTo>
                  <a:lnTo>
                    <a:pt x="0" y="219837"/>
                  </a:lnTo>
                  <a:lnTo>
                    <a:pt x="109982" y="439673"/>
                  </a:lnTo>
                  <a:lnTo>
                    <a:pt x="403733" y="439673"/>
                  </a:lnTo>
                  <a:lnTo>
                    <a:pt x="513588" y="219837"/>
                  </a:lnTo>
                  <a:lnTo>
                    <a:pt x="403733" y="0"/>
                  </a:lnTo>
                  <a:close/>
                </a:path>
              </a:pathLst>
            </a:custGeom>
            <a:solidFill>
              <a:srgbClr val="69C7F0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3635502" y="3988308"/>
              <a:ext cx="330200" cy="157480"/>
            </a:xfrm>
            <a:custGeom>
              <a:avLst/>
              <a:gdLst/>
              <a:ahLst/>
              <a:cxnLst/>
              <a:rect l="l" t="t" r="r" b="b"/>
              <a:pathLst>
                <a:path w="330200" h="157479">
                  <a:moveTo>
                    <a:pt x="78739" y="0"/>
                  </a:moveTo>
                  <a:lnTo>
                    <a:pt x="48113" y="6173"/>
                  </a:lnTo>
                  <a:lnTo>
                    <a:pt x="23082" y="23002"/>
                  </a:lnTo>
                  <a:lnTo>
                    <a:pt x="6195" y="47952"/>
                  </a:lnTo>
                  <a:lnTo>
                    <a:pt x="0" y="78485"/>
                  </a:lnTo>
                  <a:lnTo>
                    <a:pt x="6195" y="109019"/>
                  </a:lnTo>
                  <a:lnTo>
                    <a:pt x="23082" y="133969"/>
                  </a:lnTo>
                  <a:lnTo>
                    <a:pt x="48113" y="150798"/>
                  </a:lnTo>
                  <a:lnTo>
                    <a:pt x="78739" y="156971"/>
                  </a:lnTo>
                  <a:lnTo>
                    <a:pt x="100326" y="154025"/>
                  </a:lnTo>
                  <a:lnTo>
                    <a:pt x="119602" y="145684"/>
                  </a:lnTo>
                  <a:lnTo>
                    <a:pt x="135782" y="132701"/>
                  </a:lnTo>
                  <a:lnTo>
                    <a:pt x="148082" y="115823"/>
                  </a:lnTo>
                  <a:lnTo>
                    <a:pt x="172465" y="115823"/>
                  </a:lnTo>
                  <a:lnTo>
                    <a:pt x="187451" y="100964"/>
                  </a:lnTo>
                  <a:lnTo>
                    <a:pt x="44958" y="100964"/>
                  </a:lnTo>
                  <a:lnTo>
                    <a:pt x="36248" y="99185"/>
                  </a:lnTo>
                  <a:lnTo>
                    <a:pt x="29098" y="94345"/>
                  </a:lnTo>
                  <a:lnTo>
                    <a:pt x="24258" y="87195"/>
                  </a:lnTo>
                  <a:lnTo>
                    <a:pt x="22478" y="78485"/>
                  </a:lnTo>
                  <a:lnTo>
                    <a:pt x="24258" y="69776"/>
                  </a:lnTo>
                  <a:lnTo>
                    <a:pt x="29098" y="62626"/>
                  </a:lnTo>
                  <a:lnTo>
                    <a:pt x="36248" y="57786"/>
                  </a:lnTo>
                  <a:lnTo>
                    <a:pt x="44958" y="56006"/>
                  </a:lnTo>
                  <a:lnTo>
                    <a:pt x="311901" y="56006"/>
                  </a:lnTo>
                  <a:lnTo>
                    <a:pt x="299974" y="41147"/>
                  </a:lnTo>
                  <a:lnTo>
                    <a:pt x="148082" y="41147"/>
                  </a:lnTo>
                  <a:lnTo>
                    <a:pt x="135782" y="24270"/>
                  </a:lnTo>
                  <a:lnTo>
                    <a:pt x="119602" y="11287"/>
                  </a:lnTo>
                  <a:lnTo>
                    <a:pt x="100326" y="2946"/>
                  </a:lnTo>
                  <a:lnTo>
                    <a:pt x="78739" y="0"/>
                  </a:lnTo>
                  <a:close/>
                </a:path>
                <a:path w="330200" h="157479">
                  <a:moveTo>
                    <a:pt x="311901" y="56006"/>
                  </a:moveTo>
                  <a:lnTo>
                    <a:pt x="44958" y="56006"/>
                  </a:lnTo>
                  <a:lnTo>
                    <a:pt x="53721" y="57786"/>
                  </a:lnTo>
                  <a:lnTo>
                    <a:pt x="60864" y="62626"/>
                  </a:lnTo>
                  <a:lnTo>
                    <a:pt x="65674" y="69776"/>
                  </a:lnTo>
                  <a:lnTo>
                    <a:pt x="67437" y="78485"/>
                  </a:lnTo>
                  <a:lnTo>
                    <a:pt x="65674" y="87195"/>
                  </a:lnTo>
                  <a:lnTo>
                    <a:pt x="60864" y="94345"/>
                  </a:lnTo>
                  <a:lnTo>
                    <a:pt x="53720" y="99185"/>
                  </a:lnTo>
                  <a:lnTo>
                    <a:pt x="44958" y="100964"/>
                  </a:lnTo>
                  <a:lnTo>
                    <a:pt x="187451" y="100964"/>
                  </a:lnTo>
                  <a:lnTo>
                    <a:pt x="202437" y="115823"/>
                  </a:lnTo>
                  <a:lnTo>
                    <a:pt x="226822" y="91566"/>
                  </a:lnTo>
                  <a:lnTo>
                    <a:pt x="319445" y="91566"/>
                  </a:lnTo>
                  <a:lnTo>
                    <a:pt x="329946" y="78485"/>
                  </a:lnTo>
                  <a:lnTo>
                    <a:pt x="311901" y="56006"/>
                  </a:lnTo>
                  <a:close/>
                </a:path>
                <a:path w="330200" h="157479">
                  <a:moveTo>
                    <a:pt x="275589" y="91566"/>
                  </a:moveTo>
                  <a:lnTo>
                    <a:pt x="226822" y="91566"/>
                  </a:lnTo>
                  <a:lnTo>
                    <a:pt x="251206" y="115823"/>
                  </a:lnTo>
                  <a:lnTo>
                    <a:pt x="275589" y="91566"/>
                  </a:lnTo>
                  <a:close/>
                </a:path>
                <a:path w="330200" h="157479">
                  <a:moveTo>
                    <a:pt x="319445" y="91566"/>
                  </a:moveTo>
                  <a:lnTo>
                    <a:pt x="275589" y="91566"/>
                  </a:lnTo>
                  <a:lnTo>
                    <a:pt x="299974" y="115823"/>
                  </a:lnTo>
                  <a:lnTo>
                    <a:pt x="319445" y="9156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object 41"/>
          <p:cNvGrpSpPr/>
          <p:nvPr/>
        </p:nvGrpSpPr>
        <p:grpSpPr>
          <a:xfrm>
            <a:off x="2788267" y="4283392"/>
            <a:ext cx="481608" cy="413147"/>
            <a:chOff x="3523488" y="4568952"/>
            <a:chExt cx="513715" cy="440690"/>
          </a:xfrm>
        </p:grpSpPr>
        <p:sp>
          <p:nvSpPr>
            <p:cNvPr id="42" name="object 42"/>
            <p:cNvSpPr/>
            <p:nvPr/>
          </p:nvSpPr>
          <p:spPr>
            <a:xfrm>
              <a:off x="3523488" y="4568952"/>
              <a:ext cx="513715" cy="440690"/>
            </a:xfrm>
            <a:custGeom>
              <a:avLst/>
              <a:gdLst/>
              <a:ahLst/>
              <a:cxnLst/>
              <a:rect l="l" t="t" r="r" b="b"/>
              <a:pathLst>
                <a:path w="513714" h="440689">
                  <a:moveTo>
                    <a:pt x="403478" y="0"/>
                  </a:moveTo>
                  <a:lnTo>
                    <a:pt x="110109" y="0"/>
                  </a:lnTo>
                  <a:lnTo>
                    <a:pt x="0" y="220218"/>
                  </a:lnTo>
                  <a:lnTo>
                    <a:pt x="110109" y="440436"/>
                  </a:lnTo>
                  <a:lnTo>
                    <a:pt x="403478" y="440436"/>
                  </a:lnTo>
                  <a:lnTo>
                    <a:pt x="513588" y="220218"/>
                  </a:lnTo>
                  <a:lnTo>
                    <a:pt x="403478" y="0"/>
                  </a:lnTo>
                  <a:close/>
                </a:path>
              </a:pathLst>
            </a:custGeom>
            <a:solidFill>
              <a:srgbClr val="69C7F0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3" name="object 4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653028" y="4645152"/>
              <a:ext cx="243839" cy="296037"/>
            </a:xfrm>
            <a:prstGeom prst="rect">
              <a:avLst/>
            </a:prstGeom>
          </p:spPr>
        </p:pic>
      </p:grpSp>
      <p:grpSp>
        <p:nvGrpSpPr>
          <p:cNvPr id="44" name="object 44"/>
          <p:cNvGrpSpPr/>
          <p:nvPr/>
        </p:nvGrpSpPr>
        <p:grpSpPr>
          <a:xfrm>
            <a:off x="2788267" y="4972050"/>
            <a:ext cx="481608" cy="412552"/>
            <a:chOff x="3523488" y="5303520"/>
            <a:chExt cx="513715" cy="440055"/>
          </a:xfrm>
        </p:grpSpPr>
        <p:sp>
          <p:nvSpPr>
            <p:cNvPr id="45" name="object 45"/>
            <p:cNvSpPr/>
            <p:nvPr/>
          </p:nvSpPr>
          <p:spPr>
            <a:xfrm>
              <a:off x="3523488" y="5303520"/>
              <a:ext cx="513715" cy="440055"/>
            </a:xfrm>
            <a:custGeom>
              <a:avLst/>
              <a:gdLst/>
              <a:ahLst/>
              <a:cxnLst/>
              <a:rect l="l" t="t" r="r" b="b"/>
              <a:pathLst>
                <a:path w="513714" h="440054">
                  <a:moveTo>
                    <a:pt x="403733" y="0"/>
                  </a:moveTo>
                  <a:lnTo>
                    <a:pt x="109982" y="0"/>
                  </a:lnTo>
                  <a:lnTo>
                    <a:pt x="0" y="219836"/>
                  </a:lnTo>
                  <a:lnTo>
                    <a:pt x="109982" y="439673"/>
                  </a:lnTo>
                  <a:lnTo>
                    <a:pt x="403733" y="439673"/>
                  </a:lnTo>
                  <a:lnTo>
                    <a:pt x="513588" y="219836"/>
                  </a:lnTo>
                  <a:lnTo>
                    <a:pt x="403733" y="0"/>
                  </a:lnTo>
                  <a:close/>
                </a:path>
              </a:pathLst>
            </a:custGeom>
            <a:solidFill>
              <a:srgbClr val="69C7F0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3633978" y="5388864"/>
              <a:ext cx="266700" cy="267970"/>
            </a:xfrm>
            <a:custGeom>
              <a:avLst/>
              <a:gdLst/>
              <a:ahLst/>
              <a:cxnLst/>
              <a:rect l="l" t="t" r="r" b="b"/>
              <a:pathLst>
                <a:path w="266700" h="267970">
                  <a:moveTo>
                    <a:pt x="215075" y="182244"/>
                  </a:moveTo>
                  <a:lnTo>
                    <a:pt x="162941" y="182244"/>
                  </a:lnTo>
                  <a:lnTo>
                    <a:pt x="177800" y="197104"/>
                  </a:lnTo>
                  <a:lnTo>
                    <a:pt x="176402" y="204978"/>
                  </a:lnTo>
                  <a:lnTo>
                    <a:pt x="226187" y="260604"/>
                  </a:lnTo>
                  <a:lnTo>
                    <a:pt x="242887" y="267462"/>
                  </a:lnTo>
                  <a:lnTo>
                    <a:pt x="251797" y="265747"/>
                  </a:lnTo>
                  <a:lnTo>
                    <a:pt x="259587" y="260604"/>
                  </a:lnTo>
                  <a:lnTo>
                    <a:pt x="264660" y="252813"/>
                  </a:lnTo>
                  <a:lnTo>
                    <a:pt x="266350" y="243903"/>
                  </a:lnTo>
                  <a:lnTo>
                    <a:pt x="264660" y="234993"/>
                  </a:lnTo>
                  <a:lnTo>
                    <a:pt x="259587" y="227203"/>
                  </a:lnTo>
                  <a:lnTo>
                    <a:pt x="217805" y="185038"/>
                  </a:lnTo>
                  <a:lnTo>
                    <a:pt x="215075" y="182244"/>
                  </a:lnTo>
                  <a:close/>
                </a:path>
                <a:path w="266700" h="267970">
                  <a:moveTo>
                    <a:pt x="101726" y="0"/>
                  </a:moveTo>
                  <a:lnTo>
                    <a:pt x="62311" y="7778"/>
                  </a:lnTo>
                  <a:lnTo>
                    <a:pt x="30051" y="29464"/>
                  </a:lnTo>
                  <a:lnTo>
                    <a:pt x="8197" y="61722"/>
                  </a:lnTo>
                  <a:lnTo>
                    <a:pt x="0" y="101218"/>
                  </a:lnTo>
                  <a:lnTo>
                    <a:pt x="7756" y="140799"/>
                  </a:lnTo>
                  <a:lnTo>
                    <a:pt x="29384" y="173164"/>
                  </a:lnTo>
                  <a:lnTo>
                    <a:pt x="61561" y="195052"/>
                  </a:lnTo>
                  <a:lnTo>
                    <a:pt x="100964" y="203200"/>
                  </a:lnTo>
                  <a:lnTo>
                    <a:pt x="117506" y="201836"/>
                  </a:lnTo>
                  <a:lnTo>
                    <a:pt x="133572" y="197818"/>
                  </a:lnTo>
                  <a:lnTo>
                    <a:pt x="148828" y="191252"/>
                  </a:lnTo>
                  <a:lnTo>
                    <a:pt x="161747" y="183006"/>
                  </a:lnTo>
                  <a:lnTo>
                    <a:pt x="101726" y="183006"/>
                  </a:lnTo>
                  <a:lnTo>
                    <a:pt x="70173" y="176651"/>
                  </a:lnTo>
                  <a:lnTo>
                    <a:pt x="44465" y="159305"/>
                  </a:lnTo>
                  <a:lnTo>
                    <a:pt x="27164" y="133554"/>
                  </a:lnTo>
                  <a:lnTo>
                    <a:pt x="20827" y="101981"/>
                  </a:lnTo>
                  <a:lnTo>
                    <a:pt x="27164" y="70354"/>
                  </a:lnTo>
                  <a:lnTo>
                    <a:pt x="44465" y="44608"/>
                  </a:lnTo>
                  <a:lnTo>
                    <a:pt x="70173" y="27293"/>
                  </a:lnTo>
                  <a:lnTo>
                    <a:pt x="101726" y="20955"/>
                  </a:lnTo>
                  <a:lnTo>
                    <a:pt x="159768" y="20955"/>
                  </a:lnTo>
                  <a:lnTo>
                    <a:pt x="141112" y="8223"/>
                  </a:lnTo>
                  <a:lnTo>
                    <a:pt x="101726" y="0"/>
                  </a:lnTo>
                  <a:close/>
                </a:path>
                <a:path w="266700" h="267970">
                  <a:moveTo>
                    <a:pt x="159768" y="20955"/>
                  </a:moveTo>
                  <a:lnTo>
                    <a:pt x="101726" y="20955"/>
                  </a:lnTo>
                  <a:lnTo>
                    <a:pt x="133207" y="27293"/>
                  </a:lnTo>
                  <a:lnTo>
                    <a:pt x="158876" y="44608"/>
                  </a:lnTo>
                  <a:lnTo>
                    <a:pt x="176164" y="70354"/>
                  </a:lnTo>
                  <a:lnTo>
                    <a:pt x="182346" y="101218"/>
                  </a:lnTo>
                  <a:lnTo>
                    <a:pt x="182447" y="102235"/>
                  </a:lnTo>
                  <a:lnTo>
                    <a:pt x="176111" y="133447"/>
                  </a:lnTo>
                  <a:lnTo>
                    <a:pt x="158734" y="159210"/>
                  </a:lnTo>
                  <a:lnTo>
                    <a:pt x="133046" y="176615"/>
                  </a:lnTo>
                  <a:lnTo>
                    <a:pt x="101726" y="183006"/>
                  </a:lnTo>
                  <a:lnTo>
                    <a:pt x="161747" y="183006"/>
                  </a:lnTo>
                  <a:lnTo>
                    <a:pt x="162941" y="182244"/>
                  </a:lnTo>
                  <a:lnTo>
                    <a:pt x="215075" y="182244"/>
                  </a:lnTo>
                  <a:lnTo>
                    <a:pt x="212471" y="179578"/>
                  </a:lnTo>
                  <a:lnTo>
                    <a:pt x="209374" y="178562"/>
                  </a:lnTo>
                  <a:lnTo>
                    <a:pt x="196976" y="178562"/>
                  </a:lnTo>
                  <a:lnTo>
                    <a:pt x="181737" y="163703"/>
                  </a:lnTo>
                  <a:lnTo>
                    <a:pt x="190690" y="149848"/>
                  </a:lnTo>
                  <a:lnTo>
                    <a:pt x="197262" y="134778"/>
                  </a:lnTo>
                  <a:lnTo>
                    <a:pt x="201310" y="118804"/>
                  </a:lnTo>
                  <a:lnTo>
                    <a:pt x="202692" y="102235"/>
                  </a:lnTo>
                  <a:lnTo>
                    <a:pt x="194881" y="62579"/>
                  </a:lnTo>
                  <a:lnTo>
                    <a:pt x="173259" y="30162"/>
                  </a:lnTo>
                  <a:lnTo>
                    <a:pt x="159768" y="20955"/>
                  </a:lnTo>
                  <a:close/>
                </a:path>
                <a:path w="266700" h="267970">
                  <a:moveTo>
                    <a:pt x="204343" y="176911"/>
                  </a:moveTo>
                  <a:lnTo>
                    <a:pt x="196976" y="178562"/>
                  </a:lnTo>
                  <a:lnTo>
                    <a:pt x="209374" y="178562"/>
                  </a:lnTo>
                  <a:lnTo>
                    <a:pt x="204343" y="17691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7" name="object 4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662934" y="5438648"/>
              <a:ext cx="145923" cy="107822"/>
            </a:xfrm>
            <a:prstGeom prst="rect">
              <a:avLst/>
            </a:prstGeom>
          </p:spPr>
        </p:pic>
      </p:grpSp>
      <p:grpSp>
        <p:nvGrpSpPr>
          <p:cNvPr id="48" name="object 48"/>
          <p:cNvGrpSpPr/>
          <p:nvPr/>
        </p:nvGrpSpPr>
        <p:grpSpPr>
          <a:xfrm>
            <a:off x="2788267" y="5659993"/>
            <a:ext cx="481608" cy="412552"/>
            <a:chOff x="3523488" y="6037326"/>
            <a:chExt cx="513715" cy="440055"/>
          </a:xfrm>
        </p:grpSpPr>
        <p:sp>
          <p:nvSpPr>
            <p:cNvPr id="49" name="object 49"/>
            <p:cNvSpPr/>
            <p:nvPr/>
          </p:nvSpPr>
          <p:spPr>
            <a:xfrm>
              <a:off x="3523488" y="6037326"/>
              <a:ext cx="513715" cy="440055"/>
            </a:xfrm>
            <a:custGeom>
              <a:avLst/>
              <a:gdLst/>
              <a:ahLst/>
              <a:cxnLst/>
              <a:rect l="l" t="t" r="r" b="b"/>
              <a:pathLst>
                <a:path w="513714" h="440054">
                  <a:moveTo>
                    <a:pt x="403733" y="0"/>
                  </a:moveTo>
                  <a:lnTo>
                    <a:pt x="109982" y="0"/>
                  </a:lnTo>
                  <a:lnTo>
                    <a:pt x="0" y="219837"/>
                  </a:lnTo>
                  <a:lnTo>
                    <a:pt x="109982" y="439674"/>
                  </a:lnTo>
                  <a:lnTo>
                    <a:pt x="403733" y="439674"/>
                  </a:lnTo>
                  <a:lnTo>
                    <a:pt x="513588" y="219837"/>
                  </a:lnTo>
                  <a:lnTo>
                    <a:pt x="403733" y="0"/>
                  </a:lnTo>
                  <a:close/>
                </a:path>
              </a:pathLst>
            </a:custGeom>
            <a:solidFill>
              <a:srgbClr val="69C7F0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3654171" y="6125210"/>
              <a:ext cx="264160" cy="264160"/>
            </a:xfrm>
            <a:custGeom>
              <a:avLst/>
              <a:gdLst/>
              <a:ahLst/>
              <a:cxnLst/>
              <a:rect l="l" t="t" r="r" b="b"/>
              <a:pathLst>
                <a:path w="264160" h="264160">
                  <a:moveTo>
                    <a:pt x="263652" y="109220"/>
                  </a:moveTo>
                  <a:lnTo>
                    <a:pt x="154940" y="109220"/>
                  </a:lnTo>
                  <a:lnTo>
                    <a:pt x="154940" y="0"/>
                  </a:lnTo>
                  <a:lnTo>
                    <a:pt x="108712" y="0"/>
                  </a:lnTo>
                  <a:lnTo>
                    <a:pt x="108712" y="109220"/>
                  </a:lnTo>
                  <a:lnTo>
                    <a:pt x="0" y="109220"/>
                  </a:lnTo>
                  <a:lnTo>
                    <a:pt x="0" y="154940"/>
                  </a:lnTo>
                  <a:lnTo>
                    <a:pt x="108712" y="154940"/>
                  </a:lnTo>
                  <a:lnTo>
                    <a:pt x="108712" y="264160"/>
                  </a:lnTo>
                  <a:lnTo>
                    <a:pt x="154940" y="264160"/>
                  </a:lnTo>
                  <a:lnTo>
                    <a:pt x="154940" y="154940"/>
                  </a:lnTo>
                  <a:lnTo>
                    <a:pt x="263652" y="154940"/>
                  </a:lnTo>
                  <a:lnTo>
                    <a:pt x="263652" y="10922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1" name="object 51"/>
          <p:cNvSpPr txBox="1"/>
          <p:nvPr/>
        </p:nvSpPr>
        <p:spPr>
          <a:xfrm>
            <a:off x="11967" y="3885247"/>
            <a:ext cx="557808" cy="181299"/>
          </a:xfrm>
          <a:prstGeom prst="rect">
            <a:avLst/>
          </a:prstGeom>
        </p:spPr>
        <p:txBody>
          <a:bodyPr vert="horz" wrap="square" lIns="0" tIns="11906" rIns="0" bIns="0" rtlCol="0">
            <a:spAutoFit/>
          </a:bodyPr>
          <a:lstStyle/>
          <a:p>
            <a:pPr marL="11906">
              <a:spcBef>
                <a:spcPts val="94"/>
              </a:spcBef>
            </a:pPr>
            <a:r>
              <a:rPr sz="1100" spc="-98" dirty="0">
                <a:solidFill>
                  <a:srgbClr val="69C7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ON</a:t>
            </a:r>
            <a:endParaRPr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515064" y="899398"/>
            <a:ext cx="958453" cy="0"/>
          </a:xfrm>
          <a:custGeom>
            <a:avLst/>
            <a:gdLst/>
            <a:ahLst/>
            <a:cxnLst/>
            <a:rect l="l" t="t" r="r" b="b"/>
            <a:pathLst>
              <a:path w="1022350">
                <a:moveTo>
                  <a:pt x="0" y="0"/>
                </a:moveTo>
                <a:lnTo>
                  <a:pt x="1022350" y="0"/>
                </a:lnTo>
              </a:path>
            </a:pathLst>
          </a:custGeom>
          <a:ln w="35052">
            <a:solidFill>
              <a:srgbClr val="139ED9"/>
            </a:solidFill>
          </a:ln>
        </p:spPr>
        <p:txBody>
          <a:bodyPr wrap="square" lIns="0" tIns="0" rIns="0" bIns="0" rtlCol="0"/>
          <a:lstStyle/>
          <a:p>
            <a:endParaRPr sz="1688"/>
          </a:p>
        </p:txBody>
      </p:sp>
      <p:sp>
        <p:nvSpPr>
          <p:cNvPr id="53" name="object 53"/>
          <p:cNvSpPr/>
          <p:nvPr/>
        </p:nvSpPr>
        <p:spPr>
          <a:xfrm>
            <a:off x="606924" y="3740110"/>
            <a:ext cx="133945" cy="563166"/>
          </a:xfrm>
          <a:custGeom>
            <a:avLst/>
            <a:gdLst/>
            <a:ahLst/>
            <a:cxnLst/>
            <a:rect l="l" t="t" r="r" b="b"/>
            <a:pathLst>
              <a:path w="142875" h="600710">
                <a:moveTo>
                  <a:pt x="0" y="0"/>
                </a:moveTo>
                <a:lnTo>
                  <a:pt x="142494" y="302006"/>
                </a:lnTo>
                <a:lnTo>
                  <a:pt x="100248" y="388768"/>
                </a:lnTo>
                <a:lnTo>
                  <a:pt x="53619" y="486902"/>
                </a:lnTo>
                <a:lnTo>
                  <a:pt x="15896" y="567199"/>
                </a:lnTo>
                <a:lnTo>
                  <a:pt x="368" y="600456"/>
                </a:lnTo>
              </a:path>
            </a:pathLst>
          </a:custGeom>
          <a:ln w="25146">
            <a:solidFill>
              <a:srgbClr val="69C7F0"/>
            </a:solidFill>
          </a:ln>
        </p:spPr>
        <p:txBody>
          <a:bodyPr wrap="square" lIns="0" tIns="0" rIns="0" bIns="0" rtlCol="0"/>
          <a:lstStyle/>
          <a:p>
            <a:endParaRPr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itle 55">
            <a:extLst>
              <a:ext uri="{FF2B5EF4-FFF2-40B4-BE49-F238E27FC236}">
                <a16:creationId xmlns:a16="http://schemas.microsoft.com/office/drawing/2014/main" id="{E3CBD4C0-54B7-4858-9A57-B2E4AF9FB4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627" y="21918"/>
            <a:ext cx="11940371" cy="530057"/>
          </a:xfrm>
        </p:spPr>
        <p:txBody>
          <a:bodyPr/>
          <a:lstStyle/>
          <a:p>
            <a:r>
              <a:rPr lang="en-GB" sz="2800" b="1" spc="-33" dirty="0">
                <a:solidFill>
                  <a:srgbClr val="3E3E3E"/>
                </a:solidFill>
                <a:latin typeface="Gill Sans MT"/>
                <a:cs typeface="Gill Sans MT"/>
              </a:rPr>
              <a:t>Outcomes:</a:t>
            </a:r>
            <a:r>
              <a:rPr lang="en-GB" sz="2800" b="1" dirty="0">
                <a:solidFill>
                  <a:srgbClr val="3E3E3E"/>
                </a:solidFill>
                <a:latin typeface="Gill Sans MT"/>
                <a:cs typeface="Gill Sans MT"/>
              </a:rPr>
              <a:t> </a:t>
            </a:r>
            <a:r>
              <a:rPr lang="en-GB" sz="2800" b="1" spc="-225" dirty="0">
                <a:solidFill>
                  <a:srgbClr val="3E3E3E"/>
                </a:solidFill>
                <a:latin typeface="Gill Sans MT"/>
                <a:cs typeface="Gill Sans MT"/>
              </a:rPr>
              <a:t>7 QUALITATIVE Outcome categories </a:t>
            </a:r>
            <a:r>
              <a:rPr lang="en-GB" sz="2800" b="1" spc="70" dirty="0">
                <a:solidFill>
                  <a:srgbClr val="3E3E3E"/>
                </a:solidFill>
                <a:latin typeface="Gill Sans MT"/>
                <a:cs typeface="Gill Sans MT"/>
              </a:rPr>
              <a:t>as</a:t>
            </a:r>
            <a:r>
              <a:rPr lang="en-GB" sz="2800" b="1" spc="5" dirty="0">
                <a:solidFill>
                  <a:srgbClr val="3E3E3E"/>
                </a:solidFill>
                <a:latin typeface="Gill Sans MT"/>
                <a:cs typeface="Gill Sans MT"/>
              </a:rPr>
              <a:t> </a:t>
            </a:r>
            <a:r>
              <a:rPr lang="en-GB" sz="2800" b="1" spc="-42" dirty="0">
                <a:solidFill>
                  <a:srgbClr val="3E3E3E"/>
                </a:solidFill>
                <a:latin typeface="Gill Sans MT"/>
                <a:cs typeface="Gill Sans MT"/>
              </a:rPr>
              <a:t>we</a:t>
            </a:r>
            <a:r>
              <a:rPr lang="en-GB" sz="2800" b="1" spc="-5" dirty="0">
                <a:solidFill>
                  <a:srgbClr val="3E3E3E"/>
                </a:solidFill>
                <a:latin typeface="Gill Sans MT"/>
                <a:cs typeface="Gill Sans MT"/>
              </a:rPr>
              <a:t> </a:t>
            </a:r>
            <a:r>
              <a:rPr lang="en-GB" sz="2800" b="1" spc="-9" dirty="0">
                <a:solidFill>
                  <a:srgbClr val="3E3E3E"/>
                </a:solidFill>
                <a:latin typeface="Gill Sans MT"/>
                <a:cs typeface="Gill Sans MT"/>
              </a:rPr>
              <a:t>build</a:t>
            </a:r>
            <a:r>
              <a:rPr lang="en-GB" sz="2800" b="1" spc="-5" dirty="0">
                <a:solidFill>
                  <a:srgbClr val="3E3E3E"/>
                </a:solidFill>
                <a:latin typeface="Gill Sans MT"/>
                <a:cs typeface="Gill Sans MT"/>
              </a:rPr>
              <a:t> </a:t>
            </a:r>
            <a:r>
              <a:rPr lang="en-GB" sz="2800" b="1" dirty="0">
                <a:solidFill>
                  <a:srgbClr val="3E3E3E"/>
                </a:solidFill>
                <a:latin typeface="Gill Sans MT"/>
                <a:cs typeface="Gill Sans MT"/>
              </a:rPr>
              <a:t>a </a:t>
            </a:r>
            <a:r>
              <a:rPr lang="en-GB" sz="2800" b="1" spc="5" dirty="0">
                <a:solidFill>
                  <a:srgbClr val="3E3E3E"/>
                </a:solidFill>
                <a:latin typeface="Gill Sans MT"/>
                <a:cs typeface="Gill Sans MT"/>
              </a:rPr>
              <a:t>data-driven</a:t>
            </a:r>
            <a:r>
              <a:rPr lang="en-GB" sz="2800" b="1" spc="19" dirty="0">
                <a:solidFill>
                  <a:srgbClr val="3E3E3E"/>
                </a:solidFill>
                <a:latin typeface="Gill Sans MT"/>
                <a:cs typeface="Gill Sans MT"/>
              </a:rPr>
              <a:t> </a:t>
            </a:r>
            <a:r>
              <a:rPr lang="en-GB" sz="2800" b="1" spc="-9" dirty="0">
                <a:solidFill>
                  <a:srgbClr val="3E3E3E"/>
                </a:solidFill>
                <a:latin typeface="Gill Sans MT"/>
                <a:cs typeface="Gill Sans MT"/>
              </a:rPr>
              <a:t>organization</a:t>
            </a:r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lXahoTQNu.UQuWjetXHA"/>
</p:tagLst>
</file>

<file path=ppt/theme/theme1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01</TotalTime>
  <Words>136</Words>
  <Application>Microsoft Office PowerPoint</Application>
  <PresentationFormat>Widescreen</PresentationFormat>
  <Paragraphs>1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Gill Sans MT</vt:lpstr>
      <vt:lpstr>Trebuchet MS</vt:lpstr>
      <vt:lpstr>Verdana</vt:lpstr>
      <vt:lpstr>NG_PPT_16x9_Generic_template-blue</vt:lpstr>
      <vt:lpstr>think-cell Slide</vt:lpstr>
      <vt:lpstr>Data architecture</vt:lpstr>
      <vt:lpstr>Outcomes: 7 QUALITATIVE Outcome categories as we build a data-driven organiz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za, Krishna</dc:creator>
  <cp:lastModifiedBy>Ajwaliya, Nishit</cp:lastModifiedBy>
  <cp:revision>7</cp:revision>
  <dcterms:created xsi:type="dcterms:W3CDTF">2022-04-25T17:40:57Z</dcterms:created>
  <dcterms:modified xsi:type="dcterms:W3CDTF">2022-05-06T19:01:01Z</dcterms:modified>
</cp:coreProperties>
</file>